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6" r:id="rId2"/>
    <p:sldId id="316" r:id="rId3"/>
    <p:sldId id="317" r:id="rId4"/>
    <p:sldId id="318" r:id="rId5"/>
    <p:sldId id="319" r:id="rId6"/>
    <p:sldId id="320" r:id="rId7"/>
    <p:sldId id="322" r:id="rId8"/>
    <p:sldId id="323" r:id="rId9"/>
    <p:sldId id="324" r:id="rId10"/>
    <p:sldId id="325" r:id="rId11"/>
    <p:sldId id="326" r:id="rId12"/>
    <p:sldId id="327" r:id="rId13"/>
    <p:sldId id="328" r:id="rId14"/>
    <p:sldId id="271" r:id="rId15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77B8CBA5-CAAD-4337-B6D1-0C7D225B07DE}">
          <p14:sldIdLst>
            <p14:sldId id="256"/>
            <p14:sldId id="316"/>
            <p14:sldId id="317"/>
            <p14:sldId id="318"/>
            <p14:sldId id="319"/>
            <p14:sldId id="320"/>
            <p14:sldId id="322"/>
            <p14:sldId id="323"/>
            <p14:sldId id="324"/>
            <p14:sldId id="325"/>
            <p14:sldId id="326"/>
            <p14:sldId id="327"/>
            <p14:sldId id="328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35" autoAdjust="0"/>
    <p:restoredTop sz="93370" autoAdjust="0"/>
  </p:normalViewPr>
  <p:slideViewPr>
    <p:cSldViewPr>
      <p:cViewPr varScale="1">
        <p:scale>
          <a:sx n="116" d="100"/>
          <a:sy n="116" d="100"/>
        </p:scale>
        <p:origin x="1440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4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B6BF9A-A88A-46DD-8503-14ADAF8C74E9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156A77C4-ED39-4989-B476-8C0FF4BC65D0}">
      <dgm:prSet phldrT="[文本]" custT="1"/>
      <dgm:spPr/>
      <dgm:t>
        <a:bodyPr/>
        <a:lstStyle/>
        <a:p>
          <a:r>
            <a:rPr lang="en-US" altLang="zh-CN" sz="2400" dirty="0" smtClean="0"/>
            <a:t>SQL Server</a:t>
          </a:r>
          <a:endParaRPr lang="zh-CN" altLang="en-US" sz="2400" dirty="0"/>
        </a:p>
      </dgm:t>
    </dgm:pt>
    <dgm:pt modelId="{4AA68A12-D9A8-4BD6-BD3A-FF7CAB414F0B}" type="parTrans" cxnId="{CA9A558F-83C2-44EC-BB17-87318EB8445C}">
      <dgm:prSet/>
      <dgm:spPr/>
      <dgm:t>
        <a:bodyPr/>
        <a:lstStyle/>
        <a:p>
          <a:endParaRPr lang="zh-CN" altLang="en-US"/>
        </a:p>
      </dgm:t>
    </dgm:pt>
    <dgm:pt modelId="{67C0EDAD-34B5-4300-9DF2-F59CDB846F17}" type="sibTrans" cxnId="{CA9A558F-83C2-44EC-BB17-87318EB8445C}">
      <dgm:prSet/>
      <dgm:spPr/>
      <dgm:t>
        <a:bodyPr/>
        <a:lstStyle/>
        <a:p>
          <a:endParaRPr lang="zh-CN" altLang="en-US"/>
        </a:p>
      </dgm:t>
    </dgm:pt>
    <dgm:pt modelId="{92F4767E-0C5F-44CD-8945-9A9FBB4A3324}">
      <dgm:prSet phldrT="[文本]" custT="1"/>
      <dgm:spPr/>
      <dgm:t>
        <a:bodyPr/>
        <a:lstStyle/>
        <a:p>
          <a:r>
            <a:rPr lang="en-US" altLang="zh-CN" sz="2400" dirty="0" smtClean="0"/>
            <a:t>Oracle</a:t>
          </a:r>
          <a:endParaRPr lang="zh-CN" altLang="en-US" sz="2400" dirty="0"/>
        </a:p>
      </dgm:t>
    </dgm:pt>
    <dgm:pt modelId="{9157B624-ED0D-4988-BE05-A040F0F9BB15}" type="parTrans" cxnId="{80F2C145-F219-4670-9D8A-5F7015D03E41}">
      <dgm:prSet/>
      <dgm:spPr/>
      <dgm:t>
        <a:bodyPr/>
        <a:lstStyle/>
        <a:p>
          <a:endParaRPr lang="zh-CN" altLang="en-US"/>
        </a:p>
      </dgm:t>
    </dgm:pt>
    <dgm:pt modelId="{B2F5EC57-4E36-455B-AB7B-1043EA511393}" type="sibTrans" cxnId="{80F2C145-F219-4670-9D8A-5F7015D03E41}">
      <dgm:prSet/>
      <dgm:spPr/>
      <dgm:t>
        <a:bodyPr/>
        <a:lstStyle/>
        <a:p>
          <a:endParaRPr lang="zh-CN" altLang="en-US"/>
        </a:p>
      </dgm:t>
    </dgm:pt>
    <dgm:pt modelId="{E8F98A78-B8CC-4E91-9146-04CDA94328B5}">
      <dgm:prSet phldrT="[文本]" custT="1"/>
      <dgm:spPr/>
      <dgm:t>
        <a:bodyPr/>
        <a:lstStyle/>
        <a:p>
          <a:r>
            <a:rPr lang="en-US" altLang="zh-CN" sz="2400" dirty="0" smtClean="0"/>
            <a:t>MySQL</a:t>
          </a:r>
          <a:endParaRPr lang="zh-CN" altLang="en-US" sz="2400" dirty="0"/>
        </a:p>
      </dgm:t>
    </dgm:pt>
    <dgm:pt modelId="{7AE27E58-C86C-485A-A3A1-5507AD3C0E9D}" type="parTrans" cxnId="{A4E7A7CE-9E59-49DB-9D10-562AC4016AD5}">
      <dgm:prSet/>
      <dgm:spPr/>
      <dgm:t>
        <a:bodyPr/>
        <a:lstStyle/>
        <a:p>
          <a:endParaRPr lang="zh-CN" altLang="en-US"/>
        </a:p>
      </dgm:t>
    </dgm:pt>
    <dgm:pt modelId="{5B96A10D-7B1F-47E3-A9D2-D685D12F9AFF}" type="sibTrans" cxnId="{A4E7A7CE-9E59-49DB-9D10-562AC4016AD5}">
      <dgm:prSet/>
      <dgm:spPr/>
      <dgm:t>
        <a:bodyPr/>
        <a:lstStyle/>
        <a:p>
          <a:endParaRPr lang="zh-CN" altLang="en-US"/>
        </a:p>
      </dgm:t>
    </dgm:pt>
    <dgm:pt modelId="{CDA68DDA-4642-486B-9F13-3CAD2B528766}">
      <dgm:prSet phldrT="[文本]" custT="1"/>
      <dgm:spPr/>
      <dgm:t>
        <a:bodyPr/>
        <a:lstStyle/>
        <a:p>
          <a:r>
            <a:rPr lang="en-US" altLang="zh-CN" sz="2400" dirty="0" smtClean="0"/>
            <a:t>EDW</a:t>
          </a:r>
          <a:endParaRPr lang="zh-CN" altLang="en-US" sz="2400" dirty="0"/>
        </a:p>
      </dgm:t>
    </dgm:pt>
    <dgm:pt modelId="{26E32D9B-A6BD-4600-98DD-249F12B24E4C}" type="parTrans" cxnId="{46F02C72-4C12-4A2F-8BBC-20BB28FB85D3}">
      <dgm:prSet/>
      <dgm:spPr/>
      <dgm:t>
        <a:bodyPr/>
        <a:lstStyle/>
        <a:p>
          <a:endParaRPr lang="zh-CN" altLang="en-US"/>
        </a:p>
      </dgm:t>
    </dgm:pt>
    <dgm:pt modelId="{C5A20F0F-79AA-404B-8D03-2BD763C79289}" type="sibTrans" cxnId="{46F02C72-4C12-4A2F-8BBC-20BB28FB85D3}">
      <dgm:prSet/>
      <dgm:spPr/>
      <dgm:t>
        <a:bodyPr/>
        <a:lstStyle/>
        <a:p>
          <a:endParaRPr lang="zh-CN" altLang="en-US"/>
        </a:p>
      </dgm:t>
    </dgm:pt>
    <dgm:pt modelId="{F8BE26BE-9BF1-4A65-AFFC-C8A31CD33E29}">
      <dgm:prSet phldrT="[文本]" custT="1"/>
      <dgm:spPr/>
      <dgm:t>
        <a:bodyPr/>
        <a:lstStyle/>
        <a:p>
          <a:r>
            <a:rPr lang="en-US" altLang="zh-CN" sz="2400" dirty="0" smtClean="0">
              <a:solidFill>
                <a:srgbClr val="FF0000"/>
              </a:solidFill>
            </a:rPr>
            <a:t>JDW</a:t>
          </a:r>
          <a:endParaRPr lang="zh-CN" altLang="en-US" sz="2400" dirty="0">
            <a:solidFill>
              <a:srgbClr val="FF0000"/>
            </a:solidFill>
          </a:endParaRPr>
        </a:p>
      </dgm:t>
    </dgm:pt>
    <dgm:pt modelId="{DB789FA5-3A32-458E-ABEF-91634A6E6F41}" type="parTrans" cxnId="{7B13CFB3-1029-4EE7-9E9F-ACD84F572DEE}">
      <dgm:prSet/>
      <dgm:spPr/>
      <dgm:t>
        <a:bodyPr/>
        <a:lstStyle/>
        <a:p>
          <a:endParaRPr lang="zh-CN" altLang="en-US"/>
        </a:p>
      </dgm:t>
    </dgm:pt>
    <dgm:pt modelId="{A8F0ADBB-0C27-4088-A74F-A902490290AB}" type="sibTrans" cxnId="{7B13CFB3-1029-4EE7-9E9F-ACD84F572DEE}">
      <dgm:prSet/>
      <dgm:spPr/>
      <dgm:t>
        <a:bodyPr/>
        <a:lstStyle/>
        <a:p>
          <a:endParaRPr lang="zh-CN" altLang="en-US"/>
        </a:p>
      </dgm:t>
    </dgm:pt>
    <dgm:pt modelId="{072194EF-158C-45E1-8BEF-ABBAB34EA9F9}">
      <dgm:prSet phldrT="[文本]"/>
      <dgm:spPr/>
      <dgm:t>
        <a:bodyPr/>
        <a:lstStyle/>
        <a:p>
          <a:endParaRPr lang="zh-CN" altLang="en-US" dirty="0"/>
        </a:p>
      </dgm:t>
    </dgm:pt>
    <dgm:pt modelId="{0DEC389B-A5D2-4BE4-BED2-ABB6C3F1FD93}" type="parTrans" cxnId="{C016620A-4A65-4754-8A80-4DDC4BF396CE}">
      <dgm:prSet/>
      <dgm:spPr/>
      <dgm:t>
        <a:bodyPr/>
        <a:lstStyle/>
        <a:p>
          <a:endParaRPr lang="zh-CN" altLang="en-US"/>
        </a:p>
      </dgm:t>
    </dgm:pt>
    <dgm:pt modelId="{BDCCEA1D-904D-4A52-B1DD-97C9E9170A31}" type="sibTrans" cxnId="{C016620A-4A65-4754-8A80-4DDC4BF396CE}">
      <dgm:prSet/>
      <dgm:spPr/>
      <dgm:t>
        <a:bodyPr/>
        <a:lstStyle/>
        <a:p>
          <a:endParaRPr lang="zh-CN" altLang="en-US"/>
        </a:p>
      </dgm:t>
    </dgm:pt>
    <dgm:pt modelId="{08AADE87-5B53-4E74-98E6-2DC2741CD597}" type="pres">
      <dgm:prSet presAssocID="{31B6BF9A-A88A-46DD-8503-14ADAF8C74E9}" presName="arrowDiagram" presStyleCnt="0">
        <dgm:presLayoutVars>
          <dgm:chMax val="5"/>
          <dgm:dir/>
          <dgm:resizeHandles val="exact"/>
        </dgm:presLayoutVars>
      </dgm:prSet>
      <dgm:spPr/>
    </dgm:pt>
    <dgm:pt modelId="{58A8A499-F60B-4912-A3C6-067C33C72304}" type="pres">
      <dgm:prSet presAssocID="{31B6BF9A-A88A-46DD-8503-14ADAF8C74E9}" presName="arrow" presStyleLbl="bgShp" presStyleIdx="0" presStyleCnt="1"/>
      <dgm:spPr>
        <a:solidFill>
          <a:srgbClr val="00B050"/>
        </a:solidFill>
      </dgm:spPr>
    </dgm:pt>
    <dgm:pt modelId="{B6978694-60E3-435C-87B2-60215BA1FAD1}" type="pres">
      <dgm:prSet presAssocID="{31B6BF9A-A88A-46DD-8503-14ADAF8C74E9}" presName="arrowDiagram5" presStyleCnt="0"/>
      <dgm:spPr/>
    </dgm:pt>
    <dgm:pt modelId="{4C3DF065-5CEE-44AC-A163-BAC2E21C41BD}" type="pres">
      <dgm:prSet presAssocID="{156A77C4-ED39-4989-B476-8C0FF4BC65D0}" presName="bullet5a" presStyleLbl="node1" presStyleIdx="0" presStyleCnt="5"/>
      <dgm:spPr/>
    </dgm:pt>
    <dgm:pt modelId="{8B5BC8A9-A134-4C67-9F18-4F79483C31B4}" type="pres">
      <dgm:prSet presAssocID="{156A77C4-ED39-4989-B476-8C0FF4BC65D0}" presName="textBox5a" presStyleLbl="revTx" presStyleIdx="0" presStyleCnt="5" custScaleX="19785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5E26FA4-A3F4-4D84-8966-C8574EBA4F0F}" type="pres">
      <dgm:prSet presAssocID="{92F4767E-0C5F-44CD-8945-9A9FBB4A3324}" presName="bullet5b" presStyleLbl="node1" presStyleIdx="1" presStyleCnt="5"/>
      <dgm:spPr/>
    </dgm:pt>
    <dgm:pt modelId="{9D8ACB65-E2AA-401A-8A04-E2D7CD40B870}" type="pres">
      <dgm:prSet presAssocID="{92F4767E-0C5F-44CD-8945-9A9FBB4A3324}" presName="textBox5b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E7C2D06-6A53-417A-B9E3-BA387A3F2C85}" type="pres">
      <dgm:prSet presAssocID="{E8F98A78-B8CC-4E91-9146-04CDA94328B5}" presName="bullet5c" presStyleLbl="node1" presStyleIdx="2" presStyleCnt="5"/>
      <dgm:spPr/>
    </dgm:pt>
    <dgm:pt modelId="{12C0BAF8-CCDD-4C79-B6E6-F3A62E29F074}" type="pres">
      <dgm:prSet presAssocID="{E8F98A78-B8CC-4E91-9146-04CDA94328B5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93AB1D8-7E6A-427B-85A8-A044FBA09EBE}" type="pres">
      <dgm:prSet presAssocID="{CDA68DDA-4642-486B-9F13-3CAD2B528766}" presName="bullet5d" presStyleLbl="node1" presStyleIdx="3" presStyleCnt="5"/>
      <dgm:spPr/>
    </dgm:pt>
    <dgm:pt modelId="{58210032-EF91-494F-966F-B2C574D02113}" type="pres">
      <dgm:prSet presAssocID="{CDA68DDA-4642-486B-9F13-3CAD2B528766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3DA4E2C-F827-481A-8169-EC0964140AB8}" type="pres">
      <dgm:prSet presAssocID="{F8BE26BE-9BF1-4A65-AFFC-C8A31CD33E29}" presName="bullet5e" presStyleLbl="node1" presStyleIdx="4" presStyleCnt="5"/>
      <dgm:spPr/>
    </dgm:pt>
    <dgm:pt modelId="{41238E3E-412A-4ABD-9AAD-4178E9D689C7}" type="pres">
      <dgm:prSet presAssocID="{F8BE26BE-9BF1-4A65-AFFC-C8A31CD33E29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CA9A558F-83C2-44EC-BB17-87318EB8445C}" srcId="{31B6BF9A-A88A-46DD-8503-14ADAF8C74E9}" destId="{156A77C4-ED39-4989-B476-8C0FF4BC65D0}" srcOrd="0" destOrd="0" parTransId="{4AA68A12-D9A8-4BD6-BD3A-FF7CAB414F0B}" sibTransId="{67C0EDAD-34B5-4300-9DF2-F59CDB846F17}"/>
    <dgm:cxn modelId="{6DF080E9-6C69-40D9-9E21-E8BE6164F6F2}" type="presOf" srcId="{92F4767E-0C5F-44CD-8945-9A9FBB4A3324}" destId="{9D8ACB65-E2AA-401A-8A04-E2D7CD40B870}" srcOrd="0" destOrd="0" presId="urn:microsoft.com/office/officeart/2005/8/layout/arrow2"/>
    <dgm:cxn modelId="{C016620A-4A65-4754-8A80-4DDC4BF396CE}" srcId="{31B6BF9A-A88A-46DD-8503-14ADAF8C74E9}" destId="{072194EF-158C-45E1-8BEF-ABBAB34EA9F9}" srcOrd="5" destOrd="0" parTransId="{0DEC389B-A5D2-4BE4-BED2-ABB6C3F1FD93}" sibTransId="{BDCCEA1D-904D-4A52-B1DD-97C9E9170A31}"/>
    <dgm:cxn modelId="{1DEA57B6-0B8A-4837-88CE-540F6FAB8918}" type="presOf" srcId="{F8BE26BE-9BF1-4A65-AFFC-C8A31CD33E29}" destId="{41238E3E-412A-4ABD-9AAD-4178E9D689C7}" srcOrd="0" destOrd="0" presId="urn:microsoft.com/office/officeart/2005/8/layout/arrow2"/>
    <dgm:cxn modelId="{7B13CFB3-1029-4EE7-9E9F-ACD84F572DEE}" srcId="{31B6BF9A-A88A-46DD-8503-14ADAF8C74E9}" destId="{F8BE26BE-9BF1-4A65-AFFC-C8A31CD33E29}" srcOrd="4" destOrd="0" parTransId="{DB789FA5-3A32-458E-ABEF-91634A6E6F41}" sibTransId="{A8F0ADBB-0C27-4088-A74F-A902490290AB}"/>
    <dgm:cxn modelId="{D2626297-EB44-417A-B221-F76A06CCEE47}" type="presOf" srcId="{CDA68DDA-4642-486B-9F13-3CAD2B528766}" destId="{58210032-EF91-494F-966F-B2C574D02113}" srcOrd="0" destOrd="0" presId="urn:microsoft.com/office/officeart/2005/8/layout/arrow2"/>
    <dgm:cxn modelId="{46F02C72-4C12-4A2F-8BBC-20BB28FB85D3}" srcId="{31B6BF9A-A88A-46DD-8503-14ADAF8C74E9}" destId="{CDA68DDA-4642-486B-9F13-3CAD2B528766}" srcOrd="3" destOrd="0" parTransId="{26E32D9B-A6BD-4600-98DD-249F12B24E4C}" sibTransId="{C5A20F0F-79AA-404B-8D03-2BD763C79289}"/>
    <dgm:cxn modelId="{72721467-B238-4AF2-BE8D-DB4D0EFE6972}" type="presOf" srcId="{31B6BF9A-A88A-46DD-8503-14ADAF8C74E9}" destId="{08AADE87-5B53-4E74-98E6-2DC2741CD597}" srcOrd="0" destOrd="0" presId="urn:microsoft.com/office/officeart/2005/8/layout/arrow2"/>
    <dgm:cxn modelId="{80F2C145-F219-4670-9D8A-5F7015D03E41}" srcId="{31B6BF9A-A88A-46DD-8503-14ADAF8C74E9}" destId="{92F4767E-0C5F-44CD-8945-9A9FBB4A3324}" srcOrd="1" destOrd="0" parTransId="{9157B624-ED0D-4988-BE05-A040F0F9BB15}" sibTransId="{B2F5EC57-4E36-455B-AB7B-1043EA511393}"/>
    <dgm:cxn modelId="{A4E7A7CE-9E59-49DB-9D10-562AC4016AD5}" srcId="{31B6BF9A-A88A-46DD-8503-14ADAF8C74E9}" destId="{E8F98A78-B8CC-4E91-9146-04CDA94328B5}" srcOrd="2" destOrd="0" parTransId="{7AE27E58-C86C-485A-A3A1-5507AD3C0E9D}" sibTransId="{5B96A10D-7B1F-47E3-A9D2-D685D12F9AFF}"/>
    <dgm:cxn modelId="{0013A73B-3A11-46EC-84B0-EA33510830F6}" type="presOf" srcId="{E8F98A78-B8CC-4E91-9146-04CDA94328B5}" destId="{12C0BAF8-CCDD-4C79-B6E6-F3A62E29F074}" srcOrd="0" destOrd="0" presId="urn:microsoft.com/office/officeart/2005/8/layout/arrow2"/>
    <dgm:cxn modelId="{53C6A5D5-21D2-4FCE-8541-10C20E64ABE4}" type="presOf" srcId="{156A77C4-ED39-4989-B476-8C0FF4BC65D0}" destId="{8B5BC8A9-A134-4C67-9F18-4F79483C31B4}" srcOrd="0" destOrd="0" presId="urn:microsoft.com/office/officeart/2005/8/layout/arrow2"/>
    <dgm:cxn modelId="{1C64860D-E802-4DD3-A2CD-F3AC1B0A31DF}" type="presParOf" srcId="{08AADE87-5B53-4E74-98E6-2DC2741CD597}" destId="{58A8A499-F60B-4912-A3C6-067C33C72304}" srcOrd="0" destOrd="0" presId="urn:microsoft.com/office/officeart/2005/8/layout/arrow2"/>
    <dgm:cxn modelId="{7A6BF0EA-6CB3-4349-8A31-04F45C499E17}" type="presParOf" srcId="{08AADE87-5B53-4E74-98E6-2DC2741CD597}" destId="{B6978694-60E3-435C-87B2-60215BA1FAD1}" srcOrd="1" destOrd="0" presId="urn:microsoft.com/office/officeart/2005/8/layout/arrow2"/>
    <dgm:cxn modelId="{EDA0E962-CBFC-427E-80D8-2D8DCA464A43}" type="presParOf" srcId="{B6978694-60E3-435C-87B2-60215BA1FAD1}" destId="{4C3DF065-5CEE-44AC-A163-BAC2E21C41BD}" srcOrd="0" destOrd="0" presId="urn:microsoft.com/office/officeart/2005/8/layout/arrow2"/>
    <dgm:cxn modelId="{D55B9F31-F8D3-4BB9-8000-FEE3AEC284B6}" type="presParOf" srcId="{B6978694-60E3-435C-87B2-60215BA1FAD1}" destId="{8B5BC8A9-A134-4C67-9F18-4F79483C31B4}" srcOrd="1" destOrd="0" presId="urn:microsoft.com/office/officeart/2005/8/layout/arrow2"/>
    <dgm:cxn modelId="{D0162B05-A180-48D7-8062-B672A2E2C1CB}" type="presParOf" srcId="{B6978694-60E3-435C-87B2-60215BA1FAD1}" destId="{85E26FA4-A3F4-4D84-8966-C8574EBA4F0F}" srcOrd="2" destOrd="0" presId="urn:microsoft.com/office/officeart/2005/8/layout/arrow2"/>
    <dgm:cxn modelId="{425887B9-788D-41B7-ADDD-3CAC51129FE5}" type="presParOf" srcId="{B6978694-60E3-435C-87B2-60215BA1FAD1}" destId="{9D8ACB65-E2AA-401A-8A04-E2D7CD40B870}" srcOrd="3" destOrd="0" presId="urn:microsoft.com/office/officeart/2005/8/layout/arrow2"/>
    <dgm:cxn modelId="{B80421E9-B385-4718-A390-14901AA341EC}" type="presParOf" srcId="{B6978694-60E3-435C-87B2-60215BA1FAD1}" destId="{8E7C2D06-6A53-417A-B9E3-BA387A3F2C85}" srcOrd="4" destOrd="0" presId="urn:microsoft.com/office/officeart/2005/8/layout/arrow2"/>
    <dgm:cxn modelId="{1B1CE62E-8DA6-45DB-ACA6-AFF6A7FCCF8E}" type="presParOf" srcId="{B6978694-60E3-435C-87B2-60215BA1FAD1}" destId="{12C0BAF8-CCDD-4C79-B6E6-F3A62E29F074}" srcOrd="5" destOrd="0" presId="urn:microsoft.com/office/officeart/2005/8/layout/arrow2"/>
    <dgm:cxn modelId="{BFF31083-74C7-4815-9DAD-3B2B655B2E11}" type="presParOf" srcId="{B6978694-60E3-435C-87B2-60215BA1FAD1}" destId="{693AB1D8-7E6A-427B-85A8-A044FBA09EBE}" srcOrd="6" destOrd="0" presId="urn:microsoft.com/office/officeart/2005/8/layout/arrow2"/>
    <dgm:cxn modelId="{EE5D9242-A848-411C-974C-37806AA0BEF4}" type="presParOf" srcId="{B6978694-60E3-435C-87B2-60215BA1FAD1}" destId="{58210032-EF91-494F-966F-B2C574D02113}" srcOrd="7" destOrd="0" presId="urn:microsoft.com/office/officeart/2005/8/layout/arrow2"/>
    <dgm:cxn modelId="{8F9C3248-5C8D-4F68-B9C0-A3D19174E243}" type="presParOf" srcId="{B6978694-60E3-435C-87B2-60215BA1FAD1}" destId="{43DA4E2C-F827-481A-8169-EC0964140AB8}" srcOrd="8" destOrd="0" presId="urn:microsoft.com/office/officeart/2005/8/layout/arrow2"/>
    <dgm:cxn modelId="{4061CF52-BA46-4EFD-8239-82EE2D6D5938}" type="presParOf" srcId="{B6978694-60E3-435C-87B2-60215BA1FAD1}" destId="{41238E3E-412A-4ABD-9AAD-4178E9D689C7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51F8B8C-A3D8-4977-A350-4E02D69C287C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</dgm:pt>
    <dgm:pt modelId="{2CD2BF13-BFAF-4341-B6DD-36B938EAAD79}">
      <dgm:prSet phldrT="[文本]" custT="1"/>
      <dgm:spPr/>
      <dgm:t>
        <a:bodyPr/>
        <a:lstStyle/>
        <a:p>
          <a:r>
            <a:rPr lang="en-US" sz="1000" b="0" i="0" u="none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CRM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CF7E56B-23FF-448A-AE92-9FA26109BB49}" type="parTrans" cxnId="{04BFE7C3-FF8D-4FEC-969F-AEB377B43D11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1CF4D2D-BB48-443C-AECC-4A2C507BE3D9}" type="sibTrans" cxnId="{04BFE7C3-FF8D-4FEC-969F-AEB377B43D11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F7BBB654-5F2E-47B9-BAE0-8B4AEB2EA23D}">
      <dgm:prSet phldrT="[文本]" custT="1"/>
      <dgm:spPr/>
      <dgm:t>
        <a:bodyPr/>
        <a:lstStyle/>
        <a:p>
          <a:r>
            <a:rPr lang="zh-CN" altLang="en-US" sz="10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青龙系统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341E069-CFA3-47D4-AAE5-D70B28FEED17}" type="parTrans" cxnId="{1F96F79A-13EE-47F3-8655-36FDDB1E2DE3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A4E21139-141C-467C-895E-39F70792C797}" type="sibTrans" cxnId="{1F96F79A-13EE-47F3-8655-36FDDB1E2DE3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DC0D639A-AF14-45C4-B733-9FCBF97E5637}">
      <dgm:prSet phldrT="[文本]"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用户管理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6921BA5-BCF0-42B9-B4C7-6F429BFC434B}" type="parTrans" cxnId="{CEFE4D23-2C8F-4D64-A084-2FE4B1A4F74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6E13E78-B39C-4326-990F-F599A0004DD0}" type="sibTrans" cxnId="{CEFE4D23-2C8F-4D64-A084-2FE4B1A4F74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F25DB7D-7449-467B-AB8C-864405F82E10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问卷外呼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EC64705-9772-49AA-AE86-39BB173F19A5}" type="parTrans" cxnId="{EE9FD1BF-5F4D-47BC-B981-862356401E5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DC964B5-03FD-4AD4-8654-863BE638391D}" type="sibTrans" cxnId="{EE9FD1BF-5F4D-47BC-B981-862356401E5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DC78790-F414-438F-997E-C4537A981398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知识库项目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AE100E7-391D-4F1A-A6C2-B85A80A08EBF}" type="parTrans" cxnId="{8F8D34F1-0582-4B90-8165-4AAD6C124BD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E18CAACC-A526-4F19-855E-69B4B19A64AF}" type="sibTrans" cxnId="{8F8D34F1-0582-4B90-8165-4AAD6C124BD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61497FA-1AE6-4FDE-B1E3-AC73F534B435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客服工单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2A12C08-C5A0-4E91-8544-9749B1E08B65}" type="parTrans" cxnId="{FCCD8D03-F063-49E1-A304-36232274FC7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8F2288C-9009-4278-B06E-85F830850F0D}" type="sibTrans" cxnId="{FCCD8D03-F063-49E1-A304-36232274FC7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DB42B03-EA69-4E21-B054-D277B09747B4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0D48371-F793-41B4-AD4C-9BEEA1496B69}" type="parTrans" cxnId="{B97BCC65-876E-4BC2-A41C-5D2FB734922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2504DDA0-A28F-4E4E-8D22-8963E327646C}" type="sibTrans" cxnId="{B97BCC65-876E-4BC2-A41C-5D2FB734922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2008576-E6EF-4474-A823-9E0D78FCFD9B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服务平台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B64974A-6A3D-481B-AAC2-AE5256242B7E}" type="parTrans" cxnId="{14E9D8C8-DD7B-473D-BC3C-789DBC52FD3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E0D1A618-F008-44A8-951B-D3A06639CBA8}" type="sibTrans" cxnId="{14E9D8C8-DD7B-473D-BC3C-789DBC52FD3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9D7CF7C-2D92-4EC2-9B76-713DB2B945FF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赔付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A4BF25D-7831-48ED-A60C-6D6DB1BA62E1}" type="parTrans" cxnId="{18FC2D82-455D-4494-8307-26C113D0637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2EB29DA-0D1F-48E1-B046-3355C1B040FA}" type="sibTrans" cxnId="{18FC2D82-455D-4494-8307-26C113D0637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3DB9807-C6EF-4934-8E62-334805CBF9BD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备件库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FFFC627-F722-42FA-9FCF-C1AD3AE95EBD}" type="parTrans" cxnId="{137CC46F-A51F-4CB1-AFE9-3C3C7B99092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8FDF8B4-527D-4CD1-9FD7-3148CB74314A}" type="sibTrans" cxnId="{137CC46F-A51F-4CB1-AFE9-3C3C7B99092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426CA96-8593-4143-B509-FF9BBB996820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备件库销售平台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294FC97-F11E-471A-BCC9-63517806F8D1}" type="parTrans" cxnId="{985ABC57-535A-4DD3-8F16-5887F3796DE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9B7BCA9-1A49-4A45-8424-7FD3F218BFB8}" type="sibTrans" cxnId="{985ABC57-535A-4DD3-8F16-5887F3796DE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C363B2A-DEB3-4587-AF09-5D607D7D7D50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推荐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47E054E-F38D-4DCC-B48D-53EED894252A}" type="parTrans" cxnId="{C105E8D0-AEDC-427B-A47A-56B48F6E1FB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ACA709E-D637-4DD6-8A64-6C76A9F17C7D}" type="sibTrans" cxnId="{C105E8D0-AEDC-427B-A47A-56B48F6E1FB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05DA5364-1AF8-4BE1-BB4B-8B9B82C2C9ED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用户社区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8FAE66B-2042-454E-84E9-CB557E1C978B}" type="parTrans" cxnId="{247067D6-056E-44C0-A6D4-E20A4764B1A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65253DD-6D2B-4D45-9D0A-9250850EAC0B}" type="sibTrans" cxnId="{247067D6-056E-44C0-A6D4-E20A4764B1A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E1144816-4606-4FB0-9830-F4C0F59A98CB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优惠券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2FB9051-4215-447D-8F46-A91FE4E83ABD}" type="parTrans" cxnId="{ECCCBD57-9DFF-4877-87DA-F99B1DA4C9F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F534939-DCD0-4E99-8E44-E635C8B75ED7}" type="sibTrans" cxnId="{ECCCBD57-9DFF-4877-87DA-F99B1DA4C9F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198C268D-719F-421C-80E1-49685B02AE00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联盟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29F3212-D2D9-4665-A6B8-91C1E45C5655}" type="parTrans" cxnId="{318DE831-EC6A-43C9-9917-32EB3D001183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E8E7F80E-1235-44AF-857C-D290F1F9EBA1}" type="sibTrans" cxnId="{318DE831-EC6A-43C9-9917-32EB3D001183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C93E559-6C64-4AF3-9306-096BBE64EA2F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夺宝岛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346F9D9-1254-477A-9873-8A15F65130ED}" type="parTrans" cxnId="{55DAAC3C-3EFE-4093-946A-DA56CD52288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25674BAF-D097-4D59-924F-A2EB3305C025}" type="sibTrans" cxnId="{55DAAC3C-3EFE-4093-946A-DA56CD52288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890DDA5-49A9-439F-86DD-AF59C5BF2926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礼品卡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F57FC06-6AEE-4833-9160-EBC7AF620217}" type="parTrans" cxnId="{EB1638A4-0CB0-4E49-8AC0-9E07BA19CB75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73FB36A-A4C9-4388-880B-AA91213EA5E8}" type="sibTrans" cxnId="{EB1638A4-0CB0-4E49-8AC0-9E07BA19CB75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E080D5F-3468-44F2-9FF3-69E98DFD47A2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运营商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53BE45D-9325-434A-B62D-837E5098B4B9}" type="parTrans" cxnId="{A2D98216-E1CD-49D5-B5A9-E65C08CE793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6F69F6E-57A7-476D-B22A-ED9E1426FBF2}" type="sibTrans" cxnId="{A2D98216-E1CD-49D5-B5A9-E65C08CE793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2C219179-D473-449C-BA41-B00F8CB9CBFF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订单交易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557EC37-55F8-4EF9-9933-042E3BAEB9F0}" type="parTrans" cxnId="{25D793A9-6859-475B-B136-36667EF9897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E7BB814B-94B8-4C56-8968-BFAD0EA521A1}" type="sibTrans" cxnId="{25D793A9-6859-475B-B136-36667EF9897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CAFCEDD-D45E-4676-AF41-1DB489CFCC71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订单支付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134F771-2839-4577-92C4-B7E5D55E790B}" type="parTrans" cxnId="{B316E721-E022-4B4E-8801-D7790358111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14AD0B1-1C62-4E94-8951-FDBAF244E262}" type="sibTrans" cxnId="{B316E721-E022-4B4E-8801-D7790358111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A525AB44-42B3-41E7-95FE-C47C6FAEACC4}">
      <dgm:prSet custT="1"/>
      <dgm:spPr/>
      <dgm:t>
        <a:bodyPr/>
        <a:lstStyle/>
        <a:p>
          <a:r>
            <a:rPr lang="zh-CN" altLang="en-US" sz="10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拍拍</a:t>
          </a:r>
          <a:endParaRPr lang="en-US" altLang="zh-CN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1AEB343-1C29-4BAB-9B59-C712A5EE2B73}" type="parTrans" cxnId="{8B3C9A3B-DC85-40D2-ADEB-D2D8E116311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43C79AA7-E788-40BC-B61E-71D310041380}" type="sibTrans" cxnId="{8B3C9A3B-DC85-40D2-ADEB-D2D8E116311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7F5D796-2A94-4280-AAE8-90CBD101C9D9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余额</a:t>
          </a:r>
          <a:endParaRPr lang="en-US" altLang="zh-CN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F06A517-782D-4552-95DD-85084B087059}" type="parTrans" cxnId="{32FCA47F-2DAF-462B-97E6-6A692E69AE3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D7A2F42-A3A8-4EC0-9ECA-408E71549CC0}" type="sibTrans" cxnId="{32FCA47F-2DAF-462B-97E6-6A692E69AE3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A5C045A9-4AA1-4696-A920-ACB877562350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积分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E21A179-5E92-4E20-83D2-0707F1BD09E7}" type="parTrans" cxnId="{0A43958A-0C2E-4265-8DC0-C8EFD8C1AD98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2B650D4-F859-4C43-8532-A3BEABA9D21C}" type="sibTrans" cxnId="{0A43958A-0C2E-4265-8DC0-C8EFD8C1AD98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D56F31D5-5428-4F86-B1F1-D1FAC9ADD6EC}">
      <dgm:prSet custT="1"/>
      <dgm:spPr/>
      <dgm:t>
        <a:bodyPr/>
        <a:lstStyle/>
        <a:p>
          <a:r>
            <a:rPr lang="zh-CN" altLang="en-US" sz="1000" b="0" i="0" u="none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用户级别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D44A369-F8BE-46E8-8894-0A8942231949}" type="parTrans" cxnId="{924154BD-E17C-4002-BB47-62AB108CA0D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480E185F-7FFE-40CA-92B7-1EE04A39FF6D}" type="sibTrans" cxnId="{924154BD-E17C-4002-BB47-62AB108CA0D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8E4493E-977E-48BA-9880-16D973798E09}">
      <dgm:prSet custT="1"/>
      <dgm:spPr/>
      <dgm:t>
        <a:bodyPr/>
        <a:lstStyle/>
        <a:p>
          <a:r>
            <a:rPr lang="zh-CN" altLang="en-US" sz="1000" b="0" i="0" u="none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订单履约中间件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3043B59-E3B3-4101-9E4A-6DF196DDE280}" type="parTrans" cxnId="{8AEBF37E-AD7D-448E-9778-31FCA893E4E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34C5F03-E46E-45ED-87EA-A960B966FC50}" type="sibTrans" cxnId="{8AEBF37E-AD7D-448E-9778-31FCA893E4E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1DAE10DB-5DEB-4EF5-AB10-F3902302ABF4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非订单履约中间件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6C9AECE-62EA-4486-9646-694FBD47F27B}" type="parTrans" cxnId="{99089008-D8E3-479A-8C74-CA10094DC2D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D3A22D09-A689-4CB9-95FB-3B6695FDD86F}" type="sibTrans" cxnId="{99089008-D8E3-479A-8C74-CA10094DC2D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DA117B02-E652-4427-98D6-43EAA4F6A132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内配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D8A4182-1FD3-4CAE-9CAE-B336801A45BC}" type="parTrans" cxnId="{707B7886-4ED7-4F86-8B79-657CC6961261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2C56E3F3-E0E1-4F6C-A44D-89FEF7134D7A}" type="sibTrans" cxnId="{707B7886-4ED7-4F86-8B79-657CC6961261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08E2371-A7F4-4ECB-A914-DF13377F6810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自动补货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9DDEBEB-90B6-47CA-B3BF-597B2DC88F57}" type="parTrans" cxnId="{C4C34CCE-FB83-4C2A-86CB-34988D2797A1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5F29BB5-220B-447B-8724-7C849E3242C9}" type="sibTrans" cxnId="{C4C34CCE-FB83-4C2A-86CB-34988D2797A1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8EDBFBB-BAFA-4BA3-B7CD-E6448CB75D57}">
      <dgm:prSet custT="1"/>
      <dgm:spPr/>
      <dgm:t>
        <a:bodyPr/>
        <a:lstStyle/>
        <a:p>
          <a:r>
            <a:rPr lang="zh-CN" altLang="en-US" sz="1000" b="0" i="0" u="none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销量预测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2ED07D2-6322-4BAC-8425-0CF17528CBA8}" type="parTrans" cxnId="{C9204CD9-7DF3-4025-BDFC-7038476012D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4691E85-BE7E-4DB8-B72B-90257C469225}" type="sibTrans" cxnId="{C9204CD9-7DF3-4025-BDFC-7038476012D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A671D3D-CEA6-421F-ADF1-8711E346C810}">
      <dgm:prSet custT="1"/>
      <dgm:spPr/>
      <dgm:t>
        <a:bodyPr/>
        <a:lstStyle/>
        <a:p>
          <a:r>
            <a:rPr lang="en-US" sz="10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…</a:t>
          </a:r>
          <a:endParaRPr 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AD1FED2-E6CC-411D-B0F7-9B506559AD1B}" type="parTrans" cxnId="{67F17599-3FF3-4B75-BD5C-D0F1FF5E9C6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42B328A9-EBFD-4347-865E-CC032ADF755E}" type="sibTrans" cxnId="{67F17599-3FF3-4B75-BD5C-D0F1FF5E9C6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9AC638B-E316-492A-A524-79D81C32F47C}">
      <dgm:prSet custT="1"/>
      <dgm:spPr/>
      <dgm:t>
        <a:bodyPr/>
        <a:lstStyle/>
        <a:p>
          <a:r>
            <a:rPr lang="en-US" altLang="zh-CN" sz="10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…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4BBFE83-8E95-4DEC-90D9-35D1E19F40D1}" type="parTrans" cxnId="{5EF0087D-E768-40CD-A7F1-CB7F4F7D67A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7CA0629-75F9-47D7-8D56-A27F12AD0EC1}" type="sibTrans" cxnId="{5EF0087D-E768-40CD-A7F1-CB7F4F7D67A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AAD6777C-0F4D-4A90-879C-3314F05F05DB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库存健康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63703FD-F2B0-4325-8D72-04F483698E39}" type="parTrans" cxnId="{3928CE2F-3895-4CBF-9ECB-67CC8A01D7C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EFCF7CA-E67F-4427-9B6F-C4A1D07F9059}" type="sibTrans" cxnId="{3928CE2F-3895-4CBF-9ECB-67CC8A01D7C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482BC277-2AA7-4C1F-B463-91950744E23B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采购退货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9DD4EF1-13B8-4DC9-BAF7-1091E350C138}" type="parTrans" cxnId="{7AC8BCE5-F968-4C1B-B2D0-4D6C1661703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5672DDC-28DA-4128-98F0-3F799F97F28F}" type="sibTrans" cxnId="{7AC8BCE5-F968-4C1B-B2D0-4D6C1661703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0EE05444-6085-4742-A255-8E098227F04A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比价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231DDF8-4812-4483-8120-4112369549A1}" type="parTrans" cxnId="{1772B697-EBB8-498D-AD8F-E92F3E5BA93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A28A63A-2173-41D3-B95C-CACA32992351}" type="sibTrans" cxnId="{1772B697-EBB8-498D-AD8F-E92F3E5BA93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CBCF97E-DDE5-495B-81F3-04F2A9BB7499}">
      <dgm:prSet custT="1"/>
      <dgm:spPr/>
      <dgm:t>
        <a:bodyPr/>
        <a:lstStyle/>
        <a:p>
          <a:r>
            <a:rPr 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Promise</a:t>
          </a:r>
          <a:endParaRPr 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5C30689-FFCF-4DA6-84AC-D7E25568AC19}" type="parTrans" cxnId="{7190FF90-2498-4CB6-9606-18E71FDA75A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E48D4A9A-1BEF-43F1-9A83-FF761CDA038F}" type="sibTrans" cxnId="{7190FF90-2498-4CB6-9606-18E71FDA75A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07B4437B-A417-4132-84AE-08F11C3C17CF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订单分布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1F7A37C-0B85-40A6-8148-57E80F2807B0}" type="parTrans" cxnId="{AA4EDCA9-B2A2-4FCC-8278-29BAB02C054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CAED8E8-6663-4588-9B1F-71450148DFA8}" type="sibTrans" cxnId="{AA4EDCA9-B2A2-4FCC-8278-29BAB02C054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32EA142-C2FE-418B-8AA1-E157814F7FE3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采购进货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3941E7F-6B67-4769-94DC-80A9EED8BDC4}" type="parTrans" cxnId="{ACBD82C4-737E-4CD0-81FF-F9EF921B2688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4A2F6C19-2B83-4FB1-9A4E-CD326CB6A6C1}" type="sibTrans" cxnId="{ACBD82C4-737E-4CD0-81FF-F9EF921B2688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22A42BE8-7438-4A9B-A7E0-B72558A38491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供应商开放平台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722B567-6524-4BA8-94F7-EB5B741F5EAD}" type="parTrans" cxnId="{C3BB2F49-04FB-4DFC-A32E-8205EC9F7F4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DAFF58E-3851-4800-8F45-81CEC0DAF142}" type="sibTrans" cxnId="{C3BB2F49-04FB-4DFC-A32E-8205EC9F7F4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44FB6304-D074-45C8-96F3-EEB0FDB3314D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供应商主数据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7BC0787-F803-4285-A74D-73304043AFF2}" type="parTrans" cxnId="{E842FC01-F17B-41E5-AFCE-D41BC49203DF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1F28D5D8-45A6-4883-84A5-CF0D879715FD}" type="sibTrans" cxnId="{E842FC01-F17B-41E5-AFCE-D41BC49203DF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4CA459E-1D2F-4E2C-8A9E-4FFEE886D33A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供应商价格管理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A93510C-5248-4DCF-BE2B-AFA2F01034EA}" type="parTrans" cxnId="{AC93EE49-5D7F-43AE-A683-AE2A06B4F026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D527668D-AF48-4E89-B5DF-EAC42D2BB6A4}" type="sibTrans" cxnId="{AC93EE49-5D7F-43AE-A683-AE2A06B4F026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0AE6148-6FC5-4994-8CCE-9F0F5B1B5EDA}">
      <dgm:prSet custT="1"/>
      <dgm:spPr/>
      <dgm:t>
        <a:bodyPr/>
        <a:lstStyle/>
        <a:p>
          <a:r>
            <a:rPr 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wap</a:t>
          </a:r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版网站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7022735-1B65-4A12-9C39-821B5149C13D}" type="parTrans" cxnId="{DD040EBE-B13B-4841-ADDA-EF4B02470F6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AB910C7-D66C-440C-843C-716B668C680C}" type="sibTrans" cxnId="{DD040EBE-B13B-4841-ADDA-EF4B02470F6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1C873E0-A9EE-40B3-92F8-DAD4175CE161}">
      <dgm:prSet custT="1"/>
      <dgm:spPr/>
      <dgm:t>
        <a:bodyPr/>
        <a:lstStyle/>
        <a:p>
          <a:r>
            <a:rPr 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EDI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EAB63A5-326B-4A98-BD0C-FBFEA0C46B1B}" type="parTrans" cxnId="{C46B3254-FC5A-4D4E-B584-5BCB8CC2576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BC2C6E5-B9F3-4B1F-A526-49F791658D35}" type="sibTrans" cxnId="{C46B3254-FC5A-4D4E-B584-5BCB8CC2576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5DC1DEB-3ED0-4A7F-9010-1C55AB1F0AC8}">
      <dgm:prSet custT="1"/>
      <dgm:spPr/>
      <dgm:t>
        <a:bodyPr/>
        <a:lstStyle/>
        <a:p>
          <a:r>
            <a:rPr 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VLT</a:t>
          </a:r>
          <a:endParaRPr 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1C595CF-04AC-4398-AABC-A2589417DB8B}" type="parTrans" cxnId="{F1AE7B6B-82C5-42AC-973B-586A2B53714F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CA505C0-17A7-43F6-BB62-E1CADD824A64}" type="sibTrans" cxnId="{F1AE7B6B-82C5-42AC-973B-586A2B53714F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167BCAF-EE75-4B1D-A2BD-4E2EC1FD63EC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合同管理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105FEC2-BF3E-4284-867B-BA22E37E00E0}" type="parTrans" cxnId="{C76D009B-3643-4D03-B238-B96F91DC8A7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3D05FEF-F8E1-4ADD-94C7-6FBCAACF9080}" type="sibTrans" cxnId="{C76D009B-3643-4D03-B238-B96F91DC8A7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2400E85B-EE67-41C8-ADDA-3B8708352A87}">
      <dgm:prSet custT="1"/>
      <dgm:spPr/>
      <dgm:t>
        <a:bodyPr/>
        <a:lstStyle/>
        <a:p>
          <a:r>
            <a:rPr 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WMS2.0</a:t>
          </a:r>
          <a:endParaRPr 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CEFA769-8E55-4DA9-A5CF-71721AB970D3}" type="parTrans" cxnId="{5519599E-4E4A-404D-8BBA-D8C1E124277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E0A1EC45-671B-49E8-B225-1B6334836002}" type="sibTrans" cxnId="{5519599E-4E4A-404D-8BBA-D8C1E124277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3A3F6EE-4920-4A95-85FE-F2F2E4A36342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青龙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F9BBD6E-9A9E-45DC-8646-58B75ECE0BE4}" type="parTrans" cxnId="{687E1CE2-E4E8-4505-98AD-21D6E73D333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D566F11F-B5D5-4BB9-937E-E4498FD73420}" type="sibTrans" cxnId="{687E1CE2-E4E8-4505-98AD-21D6E73D333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AD028D9-84CE-4F01-9330-1E25BB5DD071}">
      <dgm:prSet custT="1"/>
      <dgm:spPr/>
      <dgm:t>
        <a:bodyPr/>
        <a:lstStyle/>
        <a:p>
          <a:r>
            <a:rPr 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DMS</a:t>
          </a:r>
          <a:endParaRPr 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A79CB52-9010-4A43-AC8C-4AFE1FB2B965}" type="parTrans" cxnId="{E3C0CB88-73AC-4CE6-AA1D-D379AB5C1A4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DBA6729-9D20-4B2F-8D1D-99E831FE2F4A}" type="sibTrans" cxnId="{E3C0CB88-73AC-4CE6-AA1D-D379AB5C1A4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99B7EC4-464A-4C2B-BB24-410F50234DE4}">
      <dgm:prSet custT="1"/>
      <dgm:spPr/>
      <dgm:t>
        <a:bodyPr/>
        <a:lstStyle/>
        <a:p>
          <a:r>
            <a:rPr 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TMS</a:t>
          </a:r>
          <a:endParaRPr 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4A92E49-F783-42A1-9492-44587346AAFA}" type="parTrans" cxnId="{1BE76C7E-14E2-4966-875E-A68E6C23E3C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B04D850-35AA-41FC-A71E-3ECD0AAA817D}" type="sibTrans" cxnId="{1BE76C7E-14E2-4966-875E-A68E6C23E3C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E58294F-28F2-4586-AE19-11BBAFF4E334}">
      <dgm:prSet custT="1"/>
      <dgm:spPr/>
      <dgm:t>
        <a:bodyPr/>
        <a:lstStyle/>
        <a:p>
          <a:r>
            <a:rPr lang="zh-CN" altLang="en-US" sz="10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上海无线</a:t>
          </a:r>
          <a:endParaRPr 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9CF3634-251D-4234-9315-6F7648F6AB78}" type="parTrans" cxnId="{867961D9-904A-4521-8B6B-1FBF8ED45EDF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373CA1B-C48B-4C22-8EE2-56A5FE6AA394}" type="sibTrans" cxnId="{867961D9-904A-4521-8B6B-1FBF8ED45EDF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E7293B3-8E83-4580-B8F3-9C36102357F5}">
      <dgm:prSet custT="1"/>
      <dgm:spPr/>
      <dgm:t>
        <a:bodyPr/>
        <a:lstStyle/>
        <a:p>
          <a:r>
            <a:rPr lang="zh-CN" altLang="en-US" sz="1000" b="0" i="0" u="none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交易</a:t>
          </a:r>
          <a:r>
            <a:rPr lang="zh-CN" altLang="en-US" sz="1000" b="0" i="0" u="none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客户端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7CD85A4-3457-4D7A-B3DF-253CDF86DD5F}" type="parTrans" cxnId="{B726FE36-E16D-4681-B298-FE349CFDBE8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A9156FD-22C7-40C2-8E54-96A3CEB031FA}" type="sibTrans" cxnId="{B726FE36-E16D-4681-B298-FE349CFDBE8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EC6B7A64-8FF9-49C4-873A-0251A3F0C02B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搜索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096362A-3FA5-4F4C-9F52-35EE97E49361}" type="parTrans" cxnId="{56BB460A-B9B6-4A83-8CA5-962119C1E0E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D4A42E4A-CA05-4DCB-AE97-AC2919FDE846}" type="sibTrans" cxnId="{56BB460A-B9B6-4A83-8CA5-962119C1E0E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E43552D-2500-489B-A37F-705655E94D0F}">
      <dgm:prSet custT="1"/>
      <dgm:spPr/>
      <dgm:t>
        <a:bodyPr/>
        <a:lstStyle/>
        <a:p>
          <a:r>
            <a:rPr 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CRM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4D96A8E-570A-404F-B230-9E8286FC469D}" type="parTrans" cxnId="{7A986CDD-3464-4566-9AAB-76DDA897FF21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480E18B1-7F7B-43C5-BB56-A6EED1447249}" type="sibTrans" cxnId="{7A986CDD-3464-4566-9AAB-76DDA897FF21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25E3234-AD4D-42FD-BE2C-12198368B588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问卷外呼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4B36D84-F3E8-4342-AC18-B4816AEA418A}" type="parTrans" cxnId="{02E8B327-7DF8-46E4-B25C-493AB73C0E2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A05618BB-60E9-4013-98CB-502836DAE110}" type="sibTrans" cxnId="{02E8B327-7DF8-46E4-B25C-493AB73C0E2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2F85A24-6152-405D-995E-679A4D9A0A60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知识库项目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C326F04-2B78-40EA-AA19-207CCBAE9217}" type="parTrans" cxnId="{57D65DA8-BB20-4460-87E8-A95A2EE8184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E3044E3-2F14-4631-9A5A-4B35B536847B}" type="sibTrans" cxnId="{57D65DA8-BB20-4460-87E8-A95A2EE8184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7094191-B3B7-424A-94E9-878E18C029C4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客服工单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8776D65-29B4-4138-BD08-EAACA8841B02}" type="parTrans" cxnId="{624F5E1C-BBE2-4E0C-9045-619FFF7D29B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E88C800-6720-47F0-8D39-2E0B55B355A0}" type="sibTrans" cxnId="{624F5E1C-BBE2-4E0C-9045-619FFF7D29B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2347FAB5-27ED-46B1-A75E-6825C16D4DE6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9F99214-D7AD-4E90-A900-2D069C0ACDBB}" type="parTrans" cxnId="{94EEF719-A7A4-44D4-BDC3-1D35E0799C6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64B0ED0-A0E2-43E5-ACD6-33844FEB9236}" type="sibTrans" cxnId="{94EEF719-A7A4-44D4-BDC3-1D35E0799C6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290479F-AD58-49D4-8C54-7993E5FD08B1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服务平台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FD52B6A-9737-4C58-91F7-D9B695E82F16}" type="parTrans" cxnId="{B951ED53-2D25-4BDF-9183-33FD59F9E6D6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D99AA620-0360-4A23-BF5F-D3E6103AEA24}" type="sibTrans" cxnId="{B951ED53-2D25-4BDF-9183-33FD59F9E6D6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725493E-F488-4DFA-A925-5A1898C106CA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赔付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2DA0F91-0F37-4F3C-AFF3-F5F54150B217}" type="parTrans" cxnId="{A6D9B011-66C6-46CC-BD3F-9D338621525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3663340-3F83-444D-9B73-EC5B57D67831}" type="sibTrans" cxnId="{A6D9B011-66C6-46CC-BD3F-9D338621525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553E458-D299-411E-A63C-6F20815D3C91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备件库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43D4361-5FD1-42DB-93F7-B5E31A7A832A}" type="parTrans" cxnId="{E064AA20-8C0F-4337-9163-4E1F523C02C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B6C23E7-AE9F-4756-AE7B-2F4681D3A8DF}" type="sibTrans" cxnId="{E064AA20-8C0F-4337-9163-4E1F523C02C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B58C2BB-F034-42B5-AD87-7957707FEAAA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备件库销售平台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346FE76-D6C0-4263-AE3F-37B20142B6D2}" type="parTrans" cxnId="{6BC6C4A7-E69E-4D83-96D6-80DBEE254AB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8216EA2-DB44-4ACA-BCAA-BD75A85BE5E2}" type="sibTrans" cxnId="{6BC6C4A7-E69E-4D83-96D6-80DBEE254AB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F6A47A5E-6173-49EA-A7C9-BC862F24D844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推荐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7BE46D1-CA56-411E-83E0-3DF233165E7D}" type="parTrans" cxnId="{E10610F1-9A7D-4CAB-9D2A-459E49135A3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537FF61-B60D-46C8-AF44-8E39C32EB665}" type="sibTrans" cxnId="{E10610F1-9A7D-4CAB-9D2A-459E49135A3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9844BB4-26A0-4E96-8820-74D44B1F37AE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订单退款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328C90B-6DD6-4C94-95B2-415EE4952396}" type="parTrans" cxnId="{85D79314-BC70-4915-98BF-BD1004CE3BA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CBBED28-93CA-43A6-BC13-678A28E8C822}" type="sibTrans" cxnId="{85D79314-BC70-4915-98BF-BD1004CE3BA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F94A371-09BE-409F-BC38-311CBDA33629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退款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96D9C0D-B0FE-4778-9A82-43E460C69985}" type="parTrans" cxnId="{F2C46ED8-D9C8-4C45-A3B4-93CBB43E494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D0F9B3C-2A91-4F70-A3A8-5639BA68FEF4}" type="sibTrans" cxnId="{F2C46ED8-D9C8-4C45-A3B4-93CBB43E494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6B8C7A9-8D85-4684-B720-C19E1F3C47DB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余额返卡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A50646E-686C-4625-A8E8-676372053433}" type="parTrans" cxnId="{EE2D892E-F2BF-4936-8535-03A0F201ED2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8CBDF54-D30B-4AE6-B739-98B0524410FA}" type="sibTrans" cxnId="{EE2D892E-F2BF-4936-8535-03A0F201ED2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B4AE96E-DB89-4A04-9CEA-192FE29C7A6C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彩票派奖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1DAF5B4-587F-4A93-8D91-445B79CB8EDE}" type="parTrans" cxnId="{035DE868-67EE-42DB-9E5D-AE3FAE053FA8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21EFC1D-5261-4FF5-8C85-90DBDE859EBC}" type="sibTrans" cxnId="{035DE868-67EE-42DB-9E5D-AE3FAE053FA8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2166D8DD-3469-4B99-BFEE-3A9FA620FDF2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退款</a:t>
          </a:r>
          <a:r>
            <a:rPr lang="en-US" altLang="zh-CN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100</a:t>
          </a:r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分监控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9AE783F-FA48-4DA3-BFCD-6C2095A2D807}" type="parTrans" cxnId="{0FCCD5CB-D1FC-469B-9DD7-FA0892FDA2D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51D8045-4483-4C49-8608-DCB1997311B6}" type="sibTrans" cxnId="{0FCCD5CB-D1FC-469B-9DD7-FA0892FDA2D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2CAD963-EBEF-493D-875F-15AD18CCB214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备查款项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A39866E-883A-4952-B097-36A229812CB9}" type="parTrans" cxnId="{2D9FB34D-3699-485C-A5D3-1F5F17E500C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E1137321-2EBD-445A-9052-1F0802184016}" type="sibTrans" cxnId="{2D9FB34D-3699-485C-A5D3-1F5F17E500C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040FCDC1-DC55-414F-9B14-D03F842CE3EA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商品税率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08976EB-5027-4725-9579-126ED1F55D59}" type="parTrans" cxnId="{00575E97-D5CC-46F4-AACE-3CE059C6B82F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2AFE2283-C977-4448-8D2E-7FA9FDB86039}" type="sibTrans" cxnId="{00575E97-D5CC-46F4-AACE-3CE059C6B82F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178E1CA-22D3-406D-8D6D-A3BD6EEC78C3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仓报价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2C1FF29-304D-4C84-AFC0-56A514D17C77}" type="parTrans" cxnId="{E3604206-EDDE-4780-9E80-6D5888F9D83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FE3F1B82-6D2E-4D8D-BDD6-1B5CAEF6F2E1}" type="sibTrans" cxnId="{E3604206-EDDE-4780-9E80-6D5888F9D83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226AD4BF-2632-4311-BD2B-575F66F0C36B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财务报表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A6A9F57-F0B3-47FE-8CED-E844DD1939CC}" type="parTrans" cxnId="{D645E8C0-5D01-4C1F-8EA0-C48D197B699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463620D3-87FE-4227-B40F-374D756C0219}" type="sibTrans" cxnId="{D645E8C0-5D01-4C1F-8EA0-C48D197B6992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1F1AD72-028D-47C2-BED8-2DD64CC8FCC3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库存结转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2835FD1-3F3B-4584-98BF-C61F5B8D57EE}" type="parTrans" cxnId="{466FDAD4-22EB-442A-98F1-C4DBAA5958B6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0197609D-BCDA-4545-977E-34631FF8AD6B}" type="sibTrans" cxnId="{466FDAD4-22EB-442A-98F1-C4DBAA5958B6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1D75F550-DA27-42E8-BCB6-57B7C8ADB2A6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机构仓库接口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64BE07D-42A9-46C8-B51F-A9FBEAED91C1}" type="parTrans" cxnId="{C2061E98-3E8B-4986-851C-5066B82DE293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CF95823-213F-40E9-A1DC-4071F736A83E}" type="sibTrans" cxnId="{C2061E98-3E8B-4986-851C-5066B82DE293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D7A1EB1-B5EC-4293-812B-B2910231BBC9}">
      <dgm:prSet custT="1"/>
      <dgm:spPr/>
      <dgm:t>
        <a:bodyPr/>
        <a:lstStyle/>
        <a:p>
          <a:r>
            <a:rPr lang="zh-CN" altLang="en-US" sz="1000" b="0" i="0" u="none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优惠券权责统计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1C315CB-E9C5-4AC3-B8D3-B9850B93605E}" type="parTrans" cxnId="{CD4B769F-37C4-4D53-8D73-60C8817723A8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1CD62C9A-A889-466F-AB2B-1FD10977E45B}" type="sibTrans" cxnId="{CD4B769F-37C4-4D53-8D73-60C8817723A8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6AED947-3E95-4CCF-824C-188284D13A8C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电子书结算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776AF4B-E918-48B3-BF9F-4A4CFB1FF258}" type="parTrans" cxnId="{68DE079C-8EF1-449F-8254-BEDCEBCC27D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0FC3BA5-E825-4859-9E39-B9DD800EB615}" type="sibTrans" cxnId="{68DE079C-8EF1-449F-8254-BEDCEBCC27D4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BF422F5D-5882-40E5-A4DF-44977289577D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计费中心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1509CBD-F941-40A2-859C-92B301B8758C}" type="parTrans" cxnId="{BBDA9E7A-5CC7-4155-A9F7-E217C42F7CD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B91CBCF-00AF-48DF-AB62-A9494768A41B}" type="sibTrans" cxnId="{BBDA9E7A-5CC7-4155-A9F7-E217C42F7CD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FBE424FD-DA1E-44D5-BC96-39E3D4AEA654}">
      <dgm:prSet custT="1"/>
      <dgm:spPr/>
      <dgm:t>
        <a:bodyPr/>
        <a:lstStyle/>
        <a:p>
          <a:r>
            <a:rPr 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vendor</a:t>
          </a:r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端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95BE8D9-B93D-4620-BBE8-8EDB3F9CAE5B}" type="parTrans" cxnId="{85EC2452-52D4-4CC7-BD25-073A235D2465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AFB85D75-A480-4A00-B4FC-C58AB9B2F914}" type="sibTrans" cxnId="{85EC2452-52D4-4CC7-BD25-073A235D2465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108E9969-1CBC-4908-8663-CBFF80569EB5}">
      <dgm:prSet custT="1"/>
      <dgm:spPr/>
      <dgm:t>
        <a:bodyPr/>
        <a:lstStyle/>
        <a:p>
          <a:r>
            <a:rPr 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API</a:t>
          </a:r>
          <a:endParaRPr 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4B3CDDB-60A8-47ED-AD1D-95EF3C86D236}" type="parTrans" cxnId="{039EFFA0-FD39-4C43-B450-0394C495EC08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2B66A7A2-648E-45EE-A0C8-5E95D8F82337}" type="sibTrans" cxnId="{039EFFA0-FD39-4C43-B450-0394C495EC08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E19CDF2-1895-4AFC-906F-C1FF6455B5C8}">
      <dgm:prSet custT="1"/>
      <dgm:spPr/>
      <dgm:t>
        <a:bodyPr/>
        <a:lstStyle/>
        <a:p>
          <a:r>
            <a:rPr lang="en-US" altLang="zh-CN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pos</a:t>
          </a:r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直连第三方配送接口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72B43FB-61C1-4030-BDC5-C3769BD82C0F}" type="parTrans" cxnId="{5BC5E111-76C6-46B6-B713-22180EA6DC0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1CF571EE-CC5B-4015-BFF2-BD9B8734CFF7}" type="sibTrans" cxnId="{5BC5E111-76C6-46B6-B713-22180EA6DC0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FA5664C-DF19-4121-91C6-98BFF580F1CB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团购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4A2AFDE-BAB1-4D0A-9FF4-3F749380DFBA}" type="parTrans" cxnId="{8CE25487-0E9C-4B29-831E-AA0F723BF63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D17C3317-6FAA-4BAC-9135-F5058DE52F24}" type="sibTrans" cxnId="{8CE25487-0E9C-4B29-831E-AA0F723BF637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98B8BE2-E211-4E6C-9A9D-4D4E6458D805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充值</a:t>
          </a:r>
          <a:r>
            <a:rPr lang="en-US" altLang="zh-CN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/</a:t>
          </a:r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票务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693EB4E-C2B6-4CCA-9F67-70B358F64B97}" type="parTrans" cxnId="{CFA983BE-333D-44A7-A047-6A624819BBF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A3C40A4E-E04D-4CE0-9AA0-09BB3AD09788}" type="sibTrans" cxnId="{CFA983BE-333D-44A7-A047-6A624819BBF0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8ED41998-1ACD-46D1-86FD-E4D82F2C7301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旅游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F7E1F33-D7DE-4240-9310-1F35215EB557}" type="parTrans" cxnId="{0DB9080D-E661-49E3-86BD-29B32B9FC9F5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EC5F0E79-B0ED-44EE-83B6-A365FAD83ED3}" type="sibTrans" cxnId="{0DB9080D-E661-49E3-86BD-29B32B9FC9F5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F650B29-4B71-458F-AC37-645AADDD10FD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机票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F6123AC-0FA5-41EC-9DC8-3C19C9D18A54}" type="parTrans" cxnId="{8D7CEAEB-25CD-4B94-B11C-2881DDF272EB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B667B10-3E6F-4228-AD00-EC2FD73E0967}" type="sibTrans" cxnId="{8D7CEAEB-25CD-4B94-B11C-2881DDF272EB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E38AA861-121C-49BD-B16D-A42B78D39EC8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火车票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0997C53-CCB8-4129-963D-10EC6F7CC174}" type="parTrans" cxnId="{FAE2EEEB-C6BD-489C-AE57-7A22155B073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C1BCE5C6-8995-47FA-B865-3B8E41AB699E}" type="sibTrans" cxnId="{FAE2EEEB-C6BD-489C-AE57-7A22155B073D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A16B67F4-D8CB-4B73-AC03-B72B9BABFF47}">
      <dgm:prSet custT="1"/>
      <dgm:spPr/>
      <dgm:t>
        <a:bodyPr/>
        <a:lstStyle/>
        <a:p>
          <a:r>
            <a:rPr 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man</a:t>
          </a:r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端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5BD8E74-5CDA-43E1-89CB-AAB4EE52B63E}" type="parTrans" cxnId="{AB624FDD-C750-4233-B8F9-3F704AA4517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F50A82AB-A892-4586-869E-46F92D8A9E5B}" type="sibTrans" cxnId="{AB624FDD-C750-4233-B8F9-3F704AA45179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614636C-EA1D-4C2C-9C7B-247288FA2F97}">
      <dgm:prSet custT="1"/>
      <dgm:spPr/>
      <dgm:t>
        <a:bodyPr/>
        <a:lstStyle/>
        <a:p>
          <a:r>
            <a:rPr lang="zh-CN" altLang="en-US" sz="10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金融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85CEA83-6DE5-432B-A935-C5B52D755F19}" type="parTrans" cxnId="{907A60C0-1F71-43FB-92D8-D3339FC7B0C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3537C7D2-90CB-4DD2-BDD5-9F578678F278}" type="sibTrans" cxnId="{907A60C0-1F71-43FB-92D8-D3339FC7B0CE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19B512B-B661-4F8B-91E7-8B4D2AC8E2E3}">
      <dgm:prSet custT="1"/>
      <dgm:spPr/>
      <dgm:t>
        <a:bodyPr/>
        <a:lstStyle/>
        <a:p>
          <a:r>
            <a:rPr lang="zh-CN" altLang="en-US" sz="1000" b="0" i="0" u="none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在线试读与网关</a:t>
          </a:r>
          <a:endParaRPr lang="zh-CN" altLang="en-US" sz="10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9A23C74-F1EC-4B89-9C75-404759CB42E7}" type="parTrans" cxnId="{E9B64A39-E77D-47D1-940B-10A624D84A9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538EB323-37EE-4EA9-A268-E3B713985054}" type="sibTrans" cxnId="{E9B64A39-E77D-47D1-940B-10A624D84A9C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A86B29F-C133-4019-A9C0-2F6159A5EBEC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商品管理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A284416-F67F-44F8-A8C3-4C58F81E45C7}" type="parTrans" cxnId="{ECC544CF-8DB8-4400-9B92-7AA6AA934D9B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9C8430BB-52CC-4E7B-B470-F0AA61DBABE4}" type="sibTrans" cxnId="{ECC544CF-8DB8-4400-9B92-7AA6AA934D9B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0979DD26-C84D-4DAC-9C1C-689DA3AB6B8F}">
      <dgm:prSet custT="1"/>
      <dgm:spPr/>
      <dgm:t>
        <a:bodyPr/>
        <a:lstStyle/>
        <a:p>
          <a:r>
            <a:rPr lang="zh-CN" altLang="en-US" sz="1000" b="0" i="0" u="none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联盟</a:t>
          </a:r>
          <a:endParaRPr lang="zh-CN" altLang="en-US" sz="10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69154FA-E192-40C9-B200-FF5E1DB42542}" type="parTrans" cxnId="{D101C1B1-0F84-4D01-9674-DC13699594D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7CB40187-4C62-4714-A4CB-61CB6577EE13}" type="sibTrans" cxnId="{D101C1B1-0F84-4D01-9674-DC13699594DA}">
      <dgm:prSet/>
      <dgm:spPr/>
      <dgm:t>
        <a:bodyPr/>
        <a:lstStyle/>
        <a:p>
          <a:endParaRPr lang="zh-CN" altLang="en-US" sz="1000">
            <a:solidFill>
              <a:schemeClr val="tx1"/>
            </a:solidFill>
          </a:endParaRPr>
        </a:p>
      </dgm:t>
    </dgm:pt>
    <dgm:pt modelId="{6D3CBA18-C8AC-4FD5-92DF-D4BF8870C646}" type="pres">
      <dgm:prSet presAssocID="{E51F8B8C-A3D8-4977-A350-4E02D69C287C}" presName="diagram" presStyleCnt="0">
        <dgm:presLayoutVars>
          <dgm:dir/>
          <dgm:resizeHandles val="exact"/>
        </dgm:presLayoutVars>
      </dgm:prSet>
      <dgm:spPr/>
    </dgm:pt>
    <dgm:pt modelId="{1C5B911E-C025-4EED-97CF-31E8BD915848}" type="pres">
      <dgm:prSet presAssocID="{2CD2BF13-BFAF-4341-B6DD-36B938EAAD79}" presName="node" presStyleLbl="node1" presStyleIdx="0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D586D02-0C2C-4D7F-8D9E-48F1498BA8A6}" type="pres">
      <dgm:prSet presAssocID="{61CF4D2D-BB48-443C-AECC-4A2C507BE3D9}" presName="sibTrans" presStyleCnt="0"/>
      <dgm:spPr/>
    </dgm:pt>
    <dgm:pt modelId="{8516B6BE-B862-4FB4-BC55-0A46348DB3AC}" type="pres">
      <dgm:prSet presAssocID="{8F25DB7D-7449-467B-AB8C-864405F82E10}" presName="node" presStyleLbl="node1" presStyleIdx="1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3AA5BD3-ACCF-4329-BE15-AD0EE238F956}" type="pres">
      <dgm:prSet presAssocID="{CDC964B5-03FD-4AD4-8654-863BE638391D}" presName="sibTrans" presStyleCnt="0"/>
      <dgm:spPr/>
    </dgm:pt>
    <dgm:pt modelId="{F3E5B544-9B48-47A0-92E7-E2231ABB97AC}" type="pres">
      <dgm:prSet presAssocID="{CDC78790-F414-438F-997E-C4537A981398}" presName="node" presStyleLbl="node1" presStyleIdx="2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5084890-0BDC-4116-BA1E-E81872AC4C65}" type="pres">
      <dgm:prSet presAssocID="{E18CAACC-A526-4F19-855E-69B4B19A64AF}" presName="sibTrans" presStyleCnt="0"/>
      <dgm:spPr/>
    </dgm:pt>
    <dgm:pt modelId="{A643B78D-98FA-457C-8CCB-D9443859B8F3}" type="pres">
      <dgm:prSet presAssocID="{761497FA-1AE6-4FDE-B1E3-AC73F534B435}" presName="node" presStyleLbl="node1" presStyleIdx="3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FCBBE7C-9E44-4E18-A790-454745903C92}" type="pres">
      <dgm:prSet presAssocID="{78F2288C-9009-4278-B06E-85F830850F0D}" presName="sibTrans" presStyleCnt="0"/>
      <dgm:spPr/>
    </dgm:pt>
    <dgm:pt modelId="{5EDE6CF7-6918-4244-A4FE-B7BE94F88DCE}" type="pres">
      <dgm:prSet presAssocID="{9DB42B03-EA69-4E21-B054-D277B09747B4}" presName="node" presStyleLbl="node1" presStyleIdx="4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56EF296-CC8D-4C32-9E38-3ED90E96C1A7}" type="pres">
      <dgm:prSet presAssocID="{2504DDA0-A28F-4E4E-8D22-8963E327646C}" presName="sibTrans" presStyleCnt="0"/>
      <dgm:spPr/>
    </dgm:pt>
    <dgm:pt modelId="{8216FDBA-C7B4-41C8-B41D-BB5B16E47FF7}" type="pres">
      <dgm:prSet presAssocID="{82008576-E6EF-4474-A823-9E0D78FCFD9B}" presName="node" presStyleLbl="node1" presStyleIdx="5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9BB17FE-3D45-49CD-85FA-8635892556D5}" type="pres">
      <dgm:prSet presAssocID="{E0D1A618-F008-44A8-951B-D3A06639CBA8}" presName="sibTrans" presStyleCnt="0"/>
      <dgm:spPr/>
    </dgm:pt>
    <dgm:pt modelId="{9BD52830-9DE9-453C-B3AC-559643F588C7}" type="pres">
      <dgm:prSet presAssocID="{B9D7CF7C-2D92-4EC2-9B76-713DB2B945FF}" presName="node" presStyleLbl="node1" presStyleIdx="6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505BDCE-7430-4D0C-A6B9-CD3620BCAF06}" type="pres">
      <dgm:prSet presAssocID="{72EB29DA-0D1F-48E1-B046-3355C1B040FA}" presName="sibTrans" presStyleCnt="0"/>
      <dgm:spPr/>
    </dgm:pt>
    <dgm:pt modelId="{EC05B19E-D5F7-47FD-9C72-7E7FD38040E5}" type="pres">
      <dgm:prSet presAssocID="{63DB9807-C6EF-4934-8E62-334805CBF9BD}" presName="node" presStyleLbl="node1" presStyleIdx="7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FB04721-213F-4F72-A784-E08E9FFA9D7E}" type="pres">
      <dgm:prSet presAssocID="{98FDF8B4-527D-4CD1-9FD7-3148CB74314A}" presName="sibTrans" presStyleCnt="0"/>
      <dgm:spPr/>
    </dgm:pt>
    <dgm:pt modelId="{692D1D26-3FC4-4A3B-967F-5FCE58A6D894}" type="pres">
      <dgm:prSet presAssocID="{8426CA96-8593-4143-B509-FF9BBB996820}" presName="node" presStyleLbl="node1" presStyleIdx="8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2FB5B51-15D9-4F3D-B218-D42FB5E9FF70}" type="pres">
      <dgm:prSet presAssocID="{79B7BCA9-1A49-4A45-8424-7FD3F218BFB8}" presName="sibTrans" presStyleCnt="0"/>
      <dgm:spPr/>
    </dgm:pt>
    <dgm:pt modelId="{E83C9897-1050-4D61-9F9D-DB5320D6890A}" type="pres">
      <dgm:prSet presAssocID="{3C363B2A-DEB3-4587-AF09-5D607D7D7D50}" presName="node" presStyleLbl="node1" presStyleIdx="9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4123B4B-11C6-42C3-9BF3-B1456E24C345}" type="pres">
      <dgm:prSet presAssocID="{CACA709E-D637-4DD6-8A64-6C76A9F17C7D}" presName="sibTrans" presStyleCnt="0"/>
      <dgm:spPr/>
    </dgm:pt>
    <dgm:pt modelId="{18A0FE2B-319A-4A6E-B726-CC1B62AA3AB8}" type="pres">
      <dgm:prSet presAssocID="{F7BBB654-5F2E-47B9-BAE0-8B4AEB2EA23D}" presName="node" presStyleLbl="node1" presStyleIdx="10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93E4CB8-5ED6-4BA1-9091-5930A4077799}" type="pres">
      <dgm:prSet presAssocID="{A4E21139-141C-467C-895E-39F70792C797}" presName="sibTrans" presStyleCnt="0"/>
      <dgm:spPr/>
    </dgm:pt>
    <dgm:pt modelId="{6E3365C0-D433-4FF9-907C-F63B7BBC73F9}" type="pres">
      <dgm:prSet presAssocID="{DC0D639A-AF14-45C4-B733-9FCBF97E5637}" presName="node" presStyleLbl="node1" presStyleIdx="11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B5050E6-9C20-41B2-A988-A52CFFD9DF09}" type="pres">
      <dgm:prSet presAssocID="{B6E13E78-B39C-4326-990F-F599A0004DD0}" presName="sibTrans" presStyleCnt="0"/>
      <dgm:spPr/>
    </dgm:pt>
    <dgm:pt modelId="{AB63E5EF-93F4-423B-B3AE-5B2A1C25A145}" type="pres">
      <dgm:prSet presAssocID="{05DA5364-1AF8-4BE1-BB4B-8B9B82C2C9ED}" presName="node" presStyleLbl="node1" presStyleIdx="12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4209F65-8A83-4F41-B684-3C28C51E709B}" type="pres">
      <dgm:prSet presAssocID="{665253DD-6D2B-4D45-9D0A-9250850EAC0B}" presName="sibTrans" presStyleCnt="0"/>
      <dgm:spPr/>
    </dgm:pt>
    <dgm:pt modelId="{C59E311E-3AC8-480C-9037-873FD74CD477}" type="pres">
      <dgm:prSet presAssocID="{E1144816-4606-4FB0-9830-F4C0F59A98CB}" presName="node" presStyleLbl="node1" presStyleIdx="13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2226572-F4DF-44B3-8875-DD219916DCFF}" type="pres">
      <dgm:prSet presAssocID="{5F534939-DCD0-4E99-8E44-E635C8B75ED7}" presName="sibTrans" presStyleCnt="0"/>
      <dgm:spPr/>
    </dgm:pt>
    <dgm:pt modelId="{99C49034-E7A2-48E0-BD65-DEA4ADB5E017}" type="pres">
      <dgm:prSet presAssocID="{198C268D-719F-421C-80E1-49685B02AE00}" presName="node" presStyleLbl="node1" presStyleIdx="14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D8E712E-8981-47EC-BF1A-8A3236028ECC}" type="pres">
      <dgm:prSet presAssocID="{E8E7F80E-1235-44AF-857C-D290F1F9EBA1}" presName="sibTrans" presStyleCnt="0"/>
      <dgm:spPr/>
    </dgm:pt>
    <dgm:pt modelId="{5311DBA8-AFF8-42BD-A1DB-BC57A3F155C1}" type="pres">
      <dgm:prSet presAssocID="{CC93E559-6C64-4AF3-9306-096BBE64EA2F}" presName="node" presStyleLbl="node1" presStyleIdx="15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062715E-328C-4360-811B-EF2C5987533C}" type="pres">
      <dgm:prSet presAssocID="{25674BAF-D097-4D59-924F-A2EB3305C025}" presName="sibTrans" presStyleCnt="0"/>
      <dgm:spPr/>
    </dgm:pt>
    <dgm:pt modelId="{07CA5CB5-3678-4E57-91D5-FB38023D1D4A}" type="pres">
      <dgm:prSet presAssocID="{AAD6777C-0F4D-4A90-879C-3314F05F05DB}" presName="node" presStyleLbl="node1" presStyleIdx="16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75C38A3-4815-42A6-9E3D-0D09C96C4D42}" type="pres">
      <dgm:prSet presAssocID="{8EFCF7CA-E67F-4427-9B6F-C4A1D07F9059}" presName="sibTrans" presStyleCnt="0"/>
      <dgm:spPr/>
    </dgm:pt>
    <dgm:pt modelId="{93E9756A-50BF-457C-9075-870B0AEE5D62}" type="pres">
      <dgm:prSet presAssocID="{482BC277-2AA7-4C1F-B463-91950744E23B}" presName="node" presStyleLbl="node1" presStyleIdx="17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B987EF4-25BE-4402-8142-B85977CC4B7B}" type="pres">
      <dgm:prSet presAssocID="{75672DDC-28DA-4128-98F0-3F799F97F28F}" presName="sibTrans" presStyleCnt="0"/>
      <dgm:spPr/>
    </dgm:pt>
    <dgm:pt modelId="{5F17A991-935B-49EC-8EB8-E1C31C21D400}" type="pres">
      <dgm:prSet presAssocID="{0EE05444-6085-4742-A255-8E098227F04A}" presName="node" presStyleLbl="node1" presStyleIdx="18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F718DD5-E33D-4872-9986-50368FA8D9C8}" type="pres">
      <dgm:prSet presAssocID="{6A28A63A-2173-41D3-B95C-CACA32992351}" presName="sibTrans" presStyleCnt="0"/>
      <dgm:spPr/>
    </dgm:pt>
    <dgm:pt modelId="{91AB7FB1-9F45-4B4E-9E39-F11F88B5D92C}" type="pres">
      <dgm:prSet presAssocID="{CCBCF97E-DDE5-495B-81F3-04F2A9BB7499}" presName="node" presStyleLbl="node1" presStyleIdx="19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14C04F9-0A55-4AAF-8F1D-6D1D869EA9E4}" type="pres">
      <dgm:prSet presAssocID="{E48D4A9A-1BEF-43F1-9A83-FF761CDA038F}" presName="sibTrans" presStyleCnt="0"/>
      <dgm:spPr/>
    </dgm:pt>
    <dgm:pt modelId="{B8E18320-AD3F-4F62-9E51-4527891CA2EC}" type="pres">
      <dgm:prSet presAssocID="{07B4437B-A417-4132-84AE-08F11C3C17CF}" presName="node" presStyleLbl="node1" presStyleIdx="20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BF006D7-3CD5-40EF-9F20-F39A1FE45076}" type="pres">
      <dgm:prSet presAssocID="{9CAED8E8-6663-4588-9B1F-71450148DFA8}" presName="sibTrans" presStyleCnt="0"/>
      <dgm:spPr/>
    </dgm:pt>
    <dgm:pt modelId="{A121ACD9-B9E6-4B8C-99BA-1E57F0ED35B2}" type="pres">
      <dgm:prSet presAssocID="{532EA142-C2FE-418B-8AA1-E157814F7FE3}" presName="node" presStyleLbl="node1" presStyleIdx="21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6C768E6-EF26-4E5E-B1BD-8502DE30187B}" type="pres">
      <dgm:prSet presAssocID="{4A2F6C19-2B83-4FB1-9A4E-CD326CB6A6C1}" presName="sibTrans" presStyleCnt="0"/>
      <dgm:spPr/>
    </dgm:pt>
    <dgm:pt modelId="{C6188723-5AAD-4D79-B35F-E78EF3CFA288}" type="pres">
      <dgm:prSet presAssocID="{22A42BE8-7438-4A9B-A7E0-B72558A38491}" presName="node" presStyleLbl="node1" presStyleIdx="22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ECA1267-A8F4-474B-A55C-67484E1C0591}" type="pres">
      <dgm:prSet presAssocID="{9DAFF58E-3851-4800-8F45-81CEC0DAF142}" presName="sibTrans" presStyleCnt="0"/>
      <dgm:spPr/>
    </dgm:pt>
    <dgm:pt modelId="{6F46BD43-3DBA-4FAC-A7AC-EF0AF486C53E}" type="pres">
      <dgm:prSet presAssocID="{44FB6304-D074-45C8-96F3-EEB0FDB3314D}" presName="node" presStyleLbl="node1" presStyleIdx="23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C5BB68A-B451-4987-A944-F51B9B0F53FC}" type="pres">
      <dgm:prSet presAssocID="{1F28D5D8-45A6-4883-84A5-CF0D879715FD}" presName="sibTrans" presStyleCnt="0"/>
      <dgm:spPr/>
    </dgm:pt>
    <dgm:pt modelId="{779BADB7-ACBB-4B1B-BA3E-199CAAEE5E4C}" type="pres">
      <dgm:prSet presAssocID="{94CA459E-1D2F-4E2C-8A9E-4FFEE886D33A}" presName="node" presStyleLbl="node1" presStyleIdx="24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4413DDF-FF9A-419E-B680-E0B89A5EB96A}" type="pres">
      <dgm:prSet presAssocID="{D527668D-AF48-4E89-B5DF-EAC42D2BB6A4}" presName="sibTrans" presStyleCnt="0"/>
      <dgm:spPr/>
    </dgm:pt>
    <dgm:pt modelId="{96F85D40-FAD2-4003-806B-A68F49F8613D}" type="pres">
      <dgm:prSet presAssocID="{90AE6148-6FC5-4994-8CCE-9F0F5B1B5EDA}" presName="node" presStyleLbl="node1" presStyleIdx="25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58837D4-469D-4CD6-A4D3-64A63BC66C89}" type="pres">
      <dgm:prSet presAssocID="{5AB910C7-D66C-440C-843C-716B668C680C}" presName="sibTrans" presStyleCnt="0"/>
      <dgm:spPr/>
    </dgm:pt>
    <dgm:pt modelId="{24668232-E705-4DBA-96DD-50A0AFAE0DCD}" type="pres">
      <dgm:prSet presAssocID="{91C873E0-A9EE-40B3-92F8-DAD4175CE161}" presName="node" presStyleLbl="node1" presStyleIdx="26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5CCDA64-52E1-409F-9FE1-93B3F4F35A8F}" type="pres">
      <dgm:prSet presAssocID="{9BC2C6E5-B9F3-4B1F-A526-49F791658D35}" presName="sibTrans" presStyleCnt="0"/>
      <dgm:spPr/>
    </dgm:pt>
    <dgm:pt modelId="{68AF84B8-7736-4957-AC76-956F4486D45D}" type="pres">
      <dgm:prSet presAssocID="{C5DC1DEB-3ED0-4A7F-9010-1C55AB1F0AC8}" presName="node" presStyleLbl="node1" presStyleIdx="27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46AFEFE-31FE-405D-8D7A-02EBFC26DC82}" type="pres">
      <dgm:prSet presAssocID="{3CA505C0-17A7-43F6-BB62-E1CADD824A64}" presName="sibTrans" presStyleCnt="0"/>
      <dgm:spPr/>
    </dgm:pt>
    <dgm:pt modelId="{7AF23E7A-F6EE-4C99-A5F9-FD696827A42A}" type="pres">
      <dgm:prSet presAssocID="{3167BCAF-EE75-4B1D-A2BD-4E2EC1FD63EC}" presName="node" presStyleLbl="node1" presStyleIdx="28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1BE4279-8649-475D-9D75-23DB50D1351A}" type="pres">
      <dgm:prSet presAssocID="{33D05FEF-F8E1-4ADD-94C7-6FBCAACF9080}" presName="sibTrans" presStyleCnt="0"/>
      <dgm:spPr/>
    </dgm:pt>
    <dgm:pt modelId="{D6017FAB-2C9B-4615-B991-D6FB6A7C4A07}" type="pres">
      <dgm:prSet presAssocID="{2400E85B-EE67-41C8-ADDA-3B8708352A87}" presName="node" presStyleLbl="node1" presStyleIdx="29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92ADCF8-CE04-41DD-9952-E4267046EB10}" type="pres">
      <dgm:prSet presAssocID="{E0A1EC45-671B-49E8-B225-1B6334836002}" presName="sibTrans" presStyleCnt="0"/>
      <dgm:spPr/>
    </dgm:pt>
    <dgm:pt modelId="{804BF373-3C78-4BC5-9E76-B0986F9701E6}" type="pres">
      <dgm:prSet presAssocID="{B3A3F6EE-4920-4A95-85FE-F2F2E4A36342}" presName="node" presStyleLbl="node1" presStyleIdx="30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BB51C22-BC19-4712-A4D4-C95BC4E480C5}" type="pres">
      <dgm:prSet presAssocID="{D566F11F-B5D5-4BB9-937E-E4498FD73420}" presName="sibTrans" presStyleCnt="0"/>
      <dgm:spPr/>
    </dgm:pt>
    <dgm:pt modelId="{BAB27F6B-5B2B-4812-A6C6-7CB33B67628E}" type="pres">
      <dgm:prSet presAssocID="{3AD028D9-84CE-4F01-9330-1E25BB5DD071}" presName="node" presStyleLbl="node1" presStyleIdx="31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38D9349-AAC9-4EBE-96C0-387588C295C5}" type="pres">
      <dgm:prSet presAssocID="{BDBA6729-9D20-4B2F-8D1D-99E831FE2F4A}" presName="sibTrans" presStyleCnt="0"/>
      <dgm:spPr/>
    </dgm:pt>
    <dgm:pt modelId="{E137E5AF-5AFF-4025-A64A-1BA589780711}" type="pres">
      <dgm:prSet presAssocID="{C99B7EC4-464A-4C2B-BB24-410F50234DE4}" presName="node" presStyleLbl="node1" presStyleIdx="32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C08943A-C36C-42CA-8E02-EAC7C885D5DB}" type="pres">
      <dgm:prSet presAssocID="{5B04D850-35AA-41FC-A71E-3ECD0AAA817D}" presName="sibTrans" presStyleCnt="0"/>
      <dgm:spPr/>
    </dgm:pt>
    <dgm:pt modelId="{A0B49FD6-020E-4BF3-B56C-5D6C9DE79766}" type="pres">
      <dgm:prSet presAssocID="{5E58294F-28F2-4586-AE19-11BBAFF4E334}" presName="node" presStyleLbl="node1" presStyleIdx="33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21F34D9-F197-4D68-800D-CC42F50C6228}" type="pres">
      <dgm:prSet presAssocID="{C373CA1B-C48B-4C22-8EE2-56A5FE6AA394}" presName="sibTrans" presStyleCnt="0"/>
      <dgm:spPr/>
    </dgm:pt>
    <dgm:pt modelId="{519C650D-3E97-401F-9D3D-6AEDD1E2CE62}" type="pres">
      <dgm:prSet presAssocID="{9E7293B3-8E83-4580-B8F3-9C36102357F5}" presName="node" presStyleLbl="node1" presStyleIdx="34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D0D3F0B-68AB-4DE4-886F-57FD316C3C7D}" type="pres">
      <dgm:prSet presAssocID="{5A9156FD-22C7-40C2-8E54-96A3CEB031FA}" presName="sibTrans" presStyleCnt="0"/>
      <dgm:spPr/>
    </dgm:pt>
    <dgm:pt modelId="{C2F58A17-C76C-4D0C-ADFA-D1DC783DC624}" type="pres">
      <dgm:prSet presAssocID="{EC6B7A64-8FF9-49C4-873A-0251A3F0C02B}" presName="node" presStyleLbl="node1" presStyleIdx="35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E1460A5-64A8-4F27-AD33-0B71FDCEF96B}" type="pres">
      <dgm:prSet presAssocID="{D4A42E4A-CA05-4DCB-AE97-AC2919FDE846}" presName="sibTrans" presStyleCnt="0"/>
      <dgm:spPr/>
    </dgm:pt>
    <dgm:pt modelId="{93578731-42D6-4736-A10B-C3A51B505782}" type="pres">
      <dgm:prSet presAssocID="{CE43552D-2500-489B-A37F-705655E94D0F}" presName="node" presStyleLbl="node1" presStyleIdx="36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786A5F4-5A26-44C7-806B-7CAC3A62317D}" type="pres">
      <dgm:prSet presAssocID="{480E18B1-7F7B-43C5-BB56-A6EED1447249}" presName="sibTrans" presStyleCnt="0"/>
      <dgm:spPr/>
    </dgm:pt>
    <dgm:pt modelId="{255627A4-EDA2-4D4D-A467-2BA799157B1B}" type="pres">
      <dgm:prSet presAssocID="{625E3234-AD4D-42FD-BE2C-12198368B588}" presName="node" presStyleLbl="node1" presStyleIdx="37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DBE989E-B554-4D1E-B436-F6FFE05A717D}" type="pres">
      <dgm:prSet presAssocID="{A05618BB-60E9-4013-98CB-502836DAE110}" presName="sibTrans" presStyleCnt="0"/>
      <dgm:spPr/>
    </dgm:pt>
    <dgm:pt modelId="{3F36FE41-6C84-4630-B10B-677FB06D0B7A}" type="pres">
      <dgm:prSet presAssocID="{C2F85A24-6152-405D-995E-679A4D9A0A60}" presName="node" presStyleLbl="node1" presStyleIdx="38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AB1F9D0-8E50-4A55-8E89-43EA683A6FB7}" type="pres">
      <dgm:prSet presAssocID="{8E3044E3-2F14-4631-9A5A-4B35B536847B}" presName="sibTrans" presStyleCnt="0"/>
      <dgm:spPr/>
    </dgm:pt>
    <dgm:pt modelId="{002CD0FE-0177-4089-A9E4-409FE1738210}" type="pres">
      <dgm:prSet presAssocID="{77094191-B3B7-424A-94E9-878E18C029C4}" presName="node" presStyleLbl="node1" presStyleIdx="39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4382FEB-81D7-480C-BC3D-E81A1B25AD99}" type="pres">
      <dgm:prSet presAssocID="{9E88C800-6720-47F0-8D39-2E0B55B355A0}" presName="sibTrans" presStyleCnt="0"/>
      <dgm:spPr/>
    </dgm:pt>
    <dgm:pt modelId="{902A21AC-34E1-45DE-BE41-E2BA06AD006A}" type="pres">
      <dgm:prSet presAssocID="{2347FAB5-27ED-46B1-A75E-6825C16D4DE6}" presName="node" presStyleLbl="node1" presStyleIdx="40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DB1DF51-708D-4CBB-8B4A-05F385E2CAF6}" type="pres">
      <dgm:prSet presAssocID="{664B0ED0-A0E2-43E5-ACD6-33844FEB9236}" presName="sibTrans" presStyleCnt="0"/>
      <dgm:spPr/>
    </dgm:pt>
    <dgm:pt modelId="{92426E81-0C41-432F-B0A2-6096EBCF8A79}" type="pres">
      <dgm:prSet presAssocID="{8290479F-AD58-49D4-8C54-7993E5FD08B1}" presName="node" presStyleLbl="node1" presStyleIdx="41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987A3BF-871C-4530-892D-58228D3C3EC4}" type="pres">
      <dgm:prSet presAssocID="{D99AA620-0360-4A23-BF5F-D3E6103AEA24}" presName="sibTrans" presStyleCnt="0"/>
      <dgm:spPr/>
    </dgm:pt>
    <dgm:pt modelId="{77D7529E-3302-40E1-9807-44BF108E2C4F}" type="pres">
      <dgm:prSet presAssocID="{3725493E-F488-4DFA-A925-5A1898C106CA}" presName="node" presStyleLbl="node1" presStyleIdx="42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33E5FB8-8CC5-4F32-8B17-3D1D3C3CFC30}" type="pres">
      <dgm:prSet presAssocID="{93663340-3F83-444D-9B73-EC5B57D67831}" presName="sibTrans" presStyleCnt="0"/>
      <dgm:spPr/>
    </dgm:pt>
    <dgm:pt modelId="{EE0FD172-3BE1-4E3A-8782-ABFDE7250B5A}" type="pres">
      <dgm:prSet presAssocID="{3553E458-D299-411E-A63C-6F20815D3C91}" presName="node" presStyleLbl="node1" presStyleIdx="43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2F963D8-32EF-47A5-8FB2-8C9592AE6E9E}" type="pres">
      <dgm:prSet presAssocID="{6B6C23E7-AE9F-4756-AE7B-2F4681D3A8DF}" presName="sibTrans" presStyleCnt="0"/>
      <dgm:spPr/>
    </dgm:pt>
    <dgm:pt modelId="{28E8893B-F9B9-4275-B47D-A8D8F422C92E}" type="pres">
      <dgm:prSet presAssocID="{9B58C2BB-F034-42B5-AD87-7957707FEAAA}" presName="node" presStyleLbl="node1" presStyleIdx="44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E88A6BF-C741-4A56-9270-5AEFE37FE3D3}" type="pres">
      <dgm:prSet presAssocID="{C8216EA2-DB44-4ACA-BCAA-BD75A85BE5E2}" presName="sibTrans" presStyleCnt="0"/>
      <dgm:spPr/>
    </dgm:pt>
    <dgm:pt modelId="{05455A62-2898-4F96-B0BA-9A872DE8DDC6}" type="pres">
      <dgm:prSet presAssocID="{F6A47A5E-6173-49EA-A7C9-BC862F24D844}" presName="node" presStyleLbl="node1" presStyleIdx="45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D3271F6-6CC1-4477-A122-8EAF6EFD0366}" type="pres">
      <dgm:prSet presAssocID="{5537FF61-B60D-46C8-AF44-8E39C32EB665}" presName="sibTrans" presStyleCnt="0"/>
      <dgm:spPr/>
    </dgm:pt>
    <dgm:pt modelId="{2261CCFE-A284-4272-8407-343CA4BE394C}" type="pres">
      <dgm:prSet presAssocID="{39844BB4-26A0-4E96-8820-74D44B1F37AE}" presName="node" presStyleLbl="node1" presStyleIdx="46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E1598F0-2B0B-4AEC-AA2D-68402797695D}" type="pres">
      <dgm:prSet presAssocID="{7CBBED28-93CA-43A6-BC13-678A28E8C822}" presName="sibTrans" presStyleCnt="0"/>
      <dgm:spPr/>
    </dgm:pt>
    <dgm:pt modelId="{8B6CEF29-EF58-464D-9117-DC442F09A51C}" type="pres">
      <dgm:prSet presAssocID="{BF94A371-09BE-409F-BC38-311CBDA33629}" presName="node" presStyleLbl="node1" presStyleIdx="47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CF6598B-14A4-4131-9047-E78C4420D1C0}" type="pres">
      <dgm:prSet presAssocID="{7D0F9B3C-2A91-4F70-A3A8-5639BA68FEF4}" presName="sibTrans" presStyleCnt="0"/>
      <dgm:spPr/>
    </dgm:pt>
    <dgm:pt modelId="{F87F99DB-2FC0-45B3-BDF7-A807A588167C}" type="pres">
      <dgm:prSet presAssocID="{76B8C7A9-8D85-4684-B720-C19E1F3C47DB}" presName="node" presStyleLbl="node1" presStyleIdx="48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3BA95C3-B203-4A61-A7B3-461DF4ABC3B1}" type="pres">
      <dgm:prSet presAssocID="{B8CBDF54-D30B-4AE6-B739-98B0524410FA}" presName="sibTrans" presStyleCnt="0"/>
      <dgm:spPr/>
    </dgm:pt>
    <dgm:pt modelId="{7C2178F5-90E9-4F22-B5E8-41C24685EC1B}" type="pres">
      <dgm:prSet presAssocID="{7B4AE96E-DB89-4A04-9CEA-192FE29C7A6C}" presName="node" presStyleLbl="node1" presStyleIdx="49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9D28C2B-A5B0-43E4-AF0B-0D83E0947019}" type="pres">
      <dgm:prSet presAssocID="{B21EFC1D-5261-4FF5-8C85-90DBDE859EBC}" presName="sibTrans" presStyleCnt="0"/>
      <dgm:spPr/>
    </dgm:pt>
    <dgm:pt modelId="{C0C7865B-E583-40C1-9B33-BD4C70004E3E}" type="pres">
      <dgm:prSet presAssocID="{2166D8DD-3469-4B99-BFEE-3A9FA620FDF2}" presName="node" presStyleLbl="node1" presStyleIdx="50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EEC04BA-745B-42AC-81B5-F6A2D33DB33E}" type="pres">
      <dgm:prSet presAssocID="{951D8045-4483-4C49-8608-DCB1997311B6}" presName="sibTrans" presStyleCnt="0"/>
      <dgm:spPr/>
    </dgm:pt>
    <dgm:pt modelId="{90233CE6-30F6-4239-9E76-55F01F814358}" type="pres">
      <dgm:prSet presAssocID="{B2CAD963-EBEF-493D-875F-15AD18CCB214}" presName="node" presStyleLbl="node1" presStyleIdx="51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7BAF657-DF72-4E20-898C-244AC0F2CCAE}" type="pres">
      <dgm:prSet presAssocID="{E1137321-2EBD-445A-9052-1F0802184016}" presName="sibTrans" presStyleCnt="0"/>
      <dgm:spPr/>
    </dgm:pt>
    <dgm:pt modelId="{53CEEE27-3DA6-480B-8313-294681CB03C8}" type="pres">
      <dgm:prSet presAssocID="{040FCDC1-DC55-414F-9B14-D03F842CE3EA}" presName="node" presStyleLbl="node1" presStyleIdx="52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D273E97-F2D9-426A-9EA5-C9508F73B8B8}" type="pres">
      <dgm:prSet presAssocID="{2AFE2283-C977-4448-8D2E-7FA9FDB86039}" presName="sibTrans" presStyleCnt="0"/>
      <dgm:spPr/>
    </dgm:pt>
    <dgm:pt modelId="{75B7379C-AB87-4014-B9F9-4866F54E9B5C}" type="pres">
      <dgm:prSet presAssocID="{7178E1CA-22D3-406D-8D6D-A3BD6EEC78C3}" presName="node" presStyleLbl="node1" presStyleIdx="53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DAD067B-C1C6-4F73-A48C-4BF33F060F56}" type="pres">
      <dgm:prSet presAssocID="{FE3F1B82-6D2E-4D8D-BDD6-1B5CAEF6F2E1}" presName="sibTrans" presStyleCnt="0"/>
      <dgm:spPr/>
    </dgm:pt>
    <dgm:pt modelId="{58083885-4732-4575-B53E-26B955EFEDDA}" type="pres">
      <dgm:prSet presAssocID="{226AD4BF-2632-4311-BD2B-575F66F0C36B}" presName="node" presStyleLbl="node1" presStyleIdx="54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3CBEFC1-B8E9-4181-940D-5172D7E16F53}" type="pres">
      <dgm:prSet presAssocID="{463620D3-87FE-4227-B40F-374D756C0219}" presName="sibTrans" presStyleCnt="0"/>
      <dgm:spPr/>
    </dgm:pt>
    <dgm:pt modelId="{891CBF20-3E4B-4FB4-9DA7-8F3AE5F50CBC}" type="pres">
      <dgm:prSet presAssocID="{3890DDA5-49A9-439F-86DD-AF59C5BF2926}" presName="node" presStyleLbl="node1" presStyleIdx="55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F8A0CB0-2E80-4ED5-9F7A-6B38C51B1586}" type="pres">
      <dgm:prSet presAssocID="{B73FB36A-A4C9-4388-880B-AA91213EA5E8}" presName="sibTrans" presStyleCnt="0"/>
      <dgm:spPr/>
    </dgm:pt>
    <dgm:pt modelId="{DD33002E-D745-4E84-AA18-95B9E9D9EC1D}" type="pres">
      <dgm:prSet presAssocID="{71F1AD72-028D-47C2-BED8-2DD64CC8FCC3}" presName="node" presStyleLbl="node1" presStyleIdx="56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AB625E5-8E4B-406C-99EC-4FE065B4A42E}" type="pres">
      <dgm:prSet presAssocID="{0197609D-BCDA-4545-977E-34631FF8AD6B}" presName="sibTrans" presStyleCnt="0"/>
      <dgm:spPr/>
    </dgm:pt>
    <dgm:pt modelId="{7FF3D7EF-F952-4BC0-A7EF-C063146300A6}" type="pres">
      <dgm:prSet presAssocID="{1D75F550-DA27-42E8-BCB6-57B7C8ADB2A6}" presName="node" presStyleLbl="node1" presStyleIdx="57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92D3F7B-A697-43B6-B25B-8E54DBFA7FE8}" type="pres">
      <dgm:prSet presAssocID="{8CF95823-213F-40E9-A1DC-4071F736A83E}" presName="sibTrans" presStyleCnt="0"/>
      <dgm:spPr/>
    </dgm:pt>
    <dgm:pt modelId="{FAEDC185-DCFF-4DE9-94F6-3E3762D8C482}" type="pres">
      <dgm:prSet presAssocID="{BD7A1EB1-B5EC-4293-812B-B2910231BBC9}" presName="node" presStyleLbl="node1" presStyleIdx="58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FBFCAD8-9177-483E-B74B-54735AA3C424}" type="pres">
      <dgm:prSet presAssocID="{1CD62C9A-A889-466F-AB2B-1FD10977E45B}" presName="sibTrans" presStyleCnt="0"/>
      <dgm:spPr/>
    </dgm:pt>
    <dgm:pt modelId="{5F0E534D-14C6-4B44-A691-9748D7F04C17}" type="pres">
      <dgm:prSet presAssocID="{B6AED947-3E95-4CCF-824C-188284D13A8C}" presName="node" presStyleLbl="node1" presStyleIdx="59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EB93B0D-14FE-4AE2-8E65-CCD4C4B620F4}" type="pres">
      <dgm:prSet presAssocID="{70FC3BA5-E825-4859-9E39-B9DD800EB615}" presName="sibTrans" presStyleCnt="0"/>
      <dgm:spPr/>
    </dgm:pt>
    <dgm:pt modelId="{CCDA8EE7-AFDD-4DA4-8F16-6F99816972CC}" type="pres">
      <dgm:prSet presAssocID="{BF422F5D-5882-40E5-A4DF-44977289577D}" presName="node" presStyleLbl="node1" presStyleIdx="60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1134561-6335-49A3-B752-2A288B06B8A7}" type="pres">
      <dgm:prSet presAssocID="{8B91CBCF-00AF-48DF-AB62-A9494768A41B}" presName="sibTrans" presStyleCnt="0"/>
      <dgm:spPr/>
    </dgm:pt>
    <dgm:pt modelId="{5C4A7C30-28E5-4543-A123-AD3F64FA5332}" type="pres">
      <dgm:prSet presAssocID="{FBE424FD-DA1E-44D5-BC96-39E3D4AEA654}" presName="node" presStyleLbl="node1" presStyleIdx="61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8BCBE94-71FC-4937-BE32-E6B6544CECC4}" type="pres">
      <dgm:prSet presAssocID="{AFB85D75-A480-4A00-B4FC-C58AB9B2F914}" presName="sibTrans" presStyleCnt="0"/>
      <dgm:spPr/>
    </dgm:pt>
    <dgm:pt modelId="{D191C00A-FE01-4423-9F8F-1945D911C238}" type="pres">
      <dgm:prSet presAssocID="{108E9969-1CBC-4908-8663-CBFF80569EB5}" presName="node" presStyleLbl="node1" presStyleIdx="62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474876E-99C9-4FB7-8364-E4970854FECC}" type="pres">
      <dgm:prSet presAssocID="{2B66A7A2-648E-45EE-A0C8-5E95D8F82337}" presName="sibTrans" presStyleCnt="0"/>
      <dgm:spPr/>
    </dgm:pt>
    <dgm:pt modelId="{9603DF31-ADB8-4CDA-9DD7-6A504A80492C}" type="pres">
      <dgm:prSet presAssocID="{7E19CDF2-1895-4AFC-906F-C1FF6455B5C8}" presName="node" presStyleLbl="node1" presStyleIdx="63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9258970-9BB6-4430-B5EA-701781B9001B}" type="pres">
      <dgm:prSet presAssocID="{1CF571EE-CC5B-4015-BFF2-BD9B8734CFF7}" presName="sibTrans" presStyleCnt="0"/>
      <dgm:spPr/>
    </dgm:pt>
    <dgm:pt modelId="{C6CB29D8-B209-4F6E-B7A0-917627718500}" type="pres">
      <dgm:prSet presAssocID="{8FA5664C-DF19-4121-91C6-98BFF580F1CB}" presName="node" presStyleLbl="node1" presStyleIdx="64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AA202E2-9DF8-4CEE-8F90-477736EFDEBF}" type="pres">
      <dgm:prSet presAssocID="{D17C3317-6FAA-4BAC-9135-F5058DE52F24}" presName="sibTrans" presStyleCnt="0"/>
      <dgm:spPr/>
    </dgm:pt>
    <dgm:pt modelId="{8A8863A0-D74C-4318-8FBB-984319E6EBE2}" type="pres">
      <dgm:prSet presAssocID="{698B8BE2-E211-4E6C-9A9D-4D4E6458D805}" presName="node" presStyleLbl="node1" presStyleIdx="65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761DCB6-2302-4365-8391-4AC679ABDFE8}" type="pres">
      <dgm:prSet presAssocID="{A3C40A4E-E04D-4CE0-9AA0-09BB3AD09788}" presName="sibTrans" presStyleCnt="0"/>
      <dgm:spPr/>
    </dgm:pt>
    <dgm:pt modelId="{3269CE9E-EFD2-43B0-B32F-7EB53A69DB26}" type="pres">
      <dgm:prSet presAssocID="{8ED41998-1ACD-46D1-86FD-E4D82F2C7301}" presName="node" presStyleLbl="node1" presStyleIdx="66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6CA1479-FAA8-415F-BD26-1974D9D9CFF4}" type="pres">
      <dgm:prSet presAssocID="{EC5F0E79-B0ED-44EE-83B6-A365FAD83ED3}" presName="sibTrans" presStyleCnt="0"/>
      <dgm:spPr/>
    </dgm:pt>
    <dgm:pt modelId="{C3530B4A-E9A3-4ADF-80E2-D9C32D5DAF9D}" type="pres">
      <dgm:prSet presAssocID="{7F650B29-4B71-458F-AC37-645AADDD10FD}" presName="node" presStyleLbl="node1" presStyleIdx="67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D48E114-0E4E-4E92-99E0-BDA392F59792}" type="pres">
      <dgm:prSet presAssocID="{3B667B10-3E6F-4228-AD00-EC2FD73E0967}" presName="sibTrans" presStyleCnt="0"/>
      <dgm:spPr/>
    </dgm:pt>
    <dgm:pt modelId="{04D6F666-D0A9-4B9C-8F07-F9FE3A3325C0}" type="pres">
      <dgm:prSet presAssocID="{E38AA861-121C-49BD-B16D-A42B78D39EC8}" presName="node" presStyleLbl="node1" presStyleIdx="68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DB6B7E8-7BB0-4A1C-A7A5-7183BC20179A}" type="pres">
      <dgm:prSet presAssocID="{C1BCE5C6-8995-47FA-B865-3B8E41AB699E}" presName="sibTrans" presStyleCnt="0"/>
      <dgm:spPr/>
    </dgm:pt>
    <dgm:pt modelId="{B0E95EF1-21FE-4D47-B7FC-1DD2D413A441}" type="pres">
      <dgm:prSet presAssocID="{A16B67F4-D8CB-4B73-AC03-B72B9BABFF47}" presName="node" presStyleLbl="node1" presStyleIdx="69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7C059FC-896D-460B-98E7-E1E37EF8DA27}" type="pres">
      <dgm:prSet presAssocID="{F50A82AB-A892-4586-869E-46F92D8A9E5B}" presName="sibTrans" presStyleCnt="0"/>
      <dgm:spPr/>
    </dgm:pt>
    <dgm:pt modelId="{1DAA0598-B2B5-4117-8883-DCBDF1B93192}" type="pres">
      <dgm:prSet presAssocID="{5614636C-EA1D-4C2C-9C7B-247288FA2F97}" presName="node" presStyleLbl="node1" presStyleIdx="70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08B6527-B931-4589-8668-1EBD8124FAF9}" type="pres">
      <dgm:prSet presAssocID="{3537C7D2-90CB-4DD2-BDD5-9F578678F278}" presName="sibTrans" presStyleCnt="0"/>
      <dgm:spPr/>
    </dgm:pt>
    <dgm:pt modelId="{DDB7036E-77FB-4F9A-89B3-FD474FD45368}" type="pres">
      <dgm:prSet presAssocID="{519B512B-B661-4F8B-91E7-8B4D2AC8E2E3}" presName="node" presStyleLbl="node1" presStyleIdx="71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AB9EBD7-1A83-4E9E-9B92-2BE37DE72FBB}" type="pres">
      <dgm:prSet presAssocID="{538EB323-37EE-4EA9-A268-E3B713985054}" presName="sibTrans" presStyleCnt="0"/>
      <dgm:spPr/>
    </dgm:pt>
    <dgm:pt modelId="{208D80A4-DD84-4377-AE14-776FAAE69D90}" type="pres">
      <dgm:prSet presAssocID="{7A86B29F-C133-4019-A9C0-2F6159A5EBEC}" presName="node" presStyleLbl="node1" presStyleIdx="72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1C88CFF-B806-46F1-8B79-893EFEB6B5B0}" type="pres">
      <dgm:prSet presAssocID="{9C8430BB-52CC-4E7B-B470-F0AA61DBABE4}" presName="sibTrans" presStyleCnt="0"/>
      <dgm:spPr/>
    </dgm:pt>
    <dgm:pt modelId="{3E2C9903-DC8B-4A21-972B-A1D9AF11AA85}" type="pres">
      <dgm:prSet presAssocID="{0979DD26-C84D-4DAC-9C1C-689DA3AB6B8F}" presName="node" presStyleLbl="node1" presStyleIdx="73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0F764E7-C0F8-4FBA-9E54-E023B5E7CC4A}" type="pres">
      <dgm:prSet presAssocID="{7CB40187-4C62-4714-A4CB-61CB6577EE13}" presName="sibTrans" presStyleCnt="0"/>
      <dgm:spPr/>
    </dgm:pt>
    <dgm:pt modelId="{35499E8B-7D0D-40A6-AE8D-CBC9354E052F}" type="pres">
      <dgm:prSet presAssocID="{6E080D5F-3468-44F2-9FF3-69E98DFD47A2}" presName="node" presStyleLbl="node1" presStyleIdx="74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196CB4A-35E3-46DE-9154-FD435D1505CB}" type="pres">
      <dgm:prSet presAssocID="{86F69F6E-57A7-476D-B22A-ED9E1426FBF2}" presName="sibTrans" presStyleCnt="0"/>
      <dgm:spPr/>
    </dgm:pt>
    <dgm:pt modelId="{13799D8C-AFF7-4709-86C4-4999C8592442}" type="pres">
      <dgm:prSet presAssocID="{2C219179-D473-449C-BA41-B00F8CB9CBFF}" presName="node" presStyleLbl="node1" presStyleIdx="75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03E21AE-FF81-4413-9904-2DE5B8819AA5}" type="pres">
      <dgm:prSet presAssocID="{E7BB814B-94B8-4C56-8968-BFAD0EA521A1}" presName="sibTrans" presStyleCnt="0"/>
      <dgm:spPr/>
    </dgm:pt>
    <dgm:pt modelId="{4BD34EB2-7931-4BF4-BD16-CA859A830882}" type="pres">
      <dgm:prSet presAssocID="{5CAFCEDD-D45E-4676-AF41-1DB489CFCC71}" presName="node" presStyleLbl="node1" presStyleIdx="76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EFBD337-6399-451F-9DA0-43CA91520C27}" type="pres">
      <dgm:prSet presAssocID="{814AD0B1-1C62-4E94-8951-FDBAF244E262}" presName="sibTrans" presStyleCnt="0"/>
      <dgm:spPr/>
    </dgm:pt>
    <dgm:pt modelId="{E0B1CC61-816A-4C77-90DB-BB2629320276}" type="pres">
      <dgm:prSet presAssocID="{A525AB44-42B3-41E7-95FE-C47C6FAEACC4}" presName="node" presStyleLbl="node1" presStyleIdx="77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80FA325-4FB5-4246-9472-56E9E2E3E0E4}" type="pres">
      <dgm:prSet presAssocID="{43C79AA7-E788-40BC-B61E-71D310041380}" presName="sibTrans" presStyleCnt="0"/>
      <dgm:spPr/>
    </dgm:pt>
    <dgm:pt modelId="{CAF53750-8D6D-40C8-B8F1-B110105DC818}" type="pres">
      <dgm:prSet presAssocID="{97F5D796-2A94-4280-AAE8-90CBD101C9D9}" presName="node" presStyleLbl="node1" presStyleIdx="78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4827697-AB1B-4B32-A27B-C5A611D367A6}" type="pres">
      <dgm:prSet presAssocID="{8D7A2F42-A3A8-4EC0-9ECA-408E71549CC0}" presName="sibTrans" presStyleCnt="0"/>
      <dgm:spPr/>
    </dgm:pt>
    <dgm:pt modelId="{052E8E50-79D6-492E-8C20-0AAEB5148879}" type="pres">
      <dgm:prSet presAssocID="{A5C045A9-4AA1-4696-A920-ACB877562350}" presName="node" presStyleLbl="node1" presStyleIdx="79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5CC3B9C-97AA-450F-A7B8-0CBF3DF38788}" type="pres">
      <dgm:prSet presAssocID="{62B650D4-F859-4C43-8532-A3BEABA9D21C}" presName="sibTrans" presStyleCnt="0"/>
      <dgm:spPr/>
    </dgm:pt>
    <dgm:pt modelId="{B13ED376-2A69-4C5B-A5B1-C2D47D86D8F5}" type="pres">
      <dgm:prSet presAssocID="{D56F31D5-5428-4F86-B1F1-D1FAC9ADD6EC}" presName="node" presStyleLbl="node1" presStyleIdx="80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AF81F8C-E9D5-43D9-B934-D901F0D8F125}" type="pres">
      <dgm:prSet presAssocID="{480E185F-7FFE-40CA-92B7-1EE04A39FF6D}" presName="sibTrans" presStyleCnt="0"/>
      <dgm:spPr/>
    </dgm:pt>
    <dgm:pt modelId="{ABE6EA04-F862-4AA3-B6F1-EB9E0C1561CE}" type="pres">
      <dgm:prSet presAssocID="{38E4493E-977E-48BA-9880-16D973798E09}" presName="node" presStyleLbl="node1" presStyleIdx="81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9491F13-C550-4EA6-BFF8-D1685E53A892}" type="pres">
      <dgm:prSet presAssocID="{334C5F03-E46E-45ED-87EA-A960B966FC50}" presName="sibTrans" presStyleCnt="0"/>
      <dgm:spPr/>
    </dgm:pt>
    <dgm:pt modelId="{280ABEB8-4241-4BD2-8D21-66E078E45823}" type="pres">
      <dgm:prSet presAssocID="{1DAE10DB-5DEB-4EF5-AB10-F3902302ABF4}" presName="node" presStyleLbl="node1" presStyleIdx="82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71DCD39-701E-47A7-B4DD-3853AF52C93D}" type="pres">
      <dgm:prSet presAssocID="{D3A22D09-A689-4CB9-95FB-3B6695FDD86F}" presName="sibTrans" presStyleCnt="0"/>
      <dgm:spPr/>
    </dgm:pt>
    <dgm:pt modelId="{04D77BB8-4965-4D42-BA99-013A0579EE85}" type="pres">
      <dgm:prSet presAssocID="{DA117B02-E652-4427-98D6-43EAA4F6A132}" presName="node" presStyleLbl="node1" presStyleIdx="83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1BE71AE-DC34-45F3-8768-D9ABB49FA213}" type="pres">
      <dgm:prSet presAssocID="{2C56E3F3-E0E1-4F6C-A44D-89FEF7134D7A}" presName="sibTrans" presStyleCnt="0"/>
      <dgm:spPr/>
    </dgm:pt>
    <dgm:pt modelId="{84BF44F1-0789-428A-A295-001C0CE340F6}" type="pres">
      <dgm:prSet presAssocID="{C08E2371-A7F4-4ECB-A914-DF13377F6810}" presName="node" presStyleLbl="node1" presStyleIdx="84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9A0C9FB-3560-4FBA-9964-E87912D59EF2}" type="pres">
      <dgm:prSet presAssocID="{85F29BB5-220B-447B-8724-7C849E3242C9}" presName="sibTrans" presStyleCnt="0"/>
      <dgm:spPr/>
    </dgm:pt>
    <dgm:pt modelId="{3135B7FD-56B2-490B-9FB5-2A970B285206}" type="pres">
      <dgm:prSet presAssocID="{98EDBFBB-BAFA-4BA3-B7CD-E6448CB75D57}" presName="node" presStyleLbl="node1" presStyleIdx="85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0814E5B-5B27-4B73-977C-E235B19C809E}" type="pres">
      <dgm:prSet presAssocID="{34691E85-BE7E-4DB8-B72B-90257C469225}" presName="sibTrans" presStyleCnt="0"/>
      <dgm:spPr/>
    </dgm:pt>
    <dgm:pt modelId="{9E486785-6256-4EDC-9814-42D18FD59030}" type="pres">
      <dgm:prSet presAssocID="{6A671D3D-CEA6-421F-ADF1-8711E346C810}" presName="node" presStyleLbl="node1" presStyleIdx="86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79DF292-DDD9-43FC-BA56-746E828E995C}" type="pres">
      <dgm:prSet presAssocID="{42B328A9-EBFD-4347-865E-CC032ADF755E}" presName="sibTrans" presStyleCnt="0"/>
      <dgm:spPr/>
    </dgm:pt>
    <dgm:pt modelId="{1C59D157-B449-4E93-95A4-B5B249CBFF91}" type="pres">
      <dgm:prSet presAssocID="{59AC638B-E316-492A-A524-79D81C32F47C}" presName="node" presStyleLbl="node1" presStyleIdx="87" presStyleCnt="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0FCCD5CB-D1FC-469B-9DD7-FA0892FDA2D9}" srcId="{E51F8B8C-A3D8-4977-A350-4E02D69C287C}" destId="{2166D8DD-3469-4B99-BFEE-3A9FA620FDF2}" srcOrd="50" destOrd="0" parTransId="{B9AE783F-FA48-4DA3-BFCD-6C2095A2D807}" sibTransId="{951D8045-4483-4C49-8608-DCB1997311B6}"/>
    <dgm:cxn modelId="{763E7E59-F3B2-4A78-84CA-A797FB574C3E}" type="presOf" srcId="{2347FAB5-27ED-46B1-A75E-6825C16D4DE6}" destId="{902A21AC-34E1-45DE-BE41-E2BA06AD006A}" srcOrd="0" destOrd="0" presId="urn:microsoft.com/office/officeart/2005/8/layout/default"/>
    <dgm:cxn modelId="{68DE079C-8EF1-449F-8254-BEDCEBCC27D4}" srcId="{E51F8B8C-A3D8-4977-A350-4E02D69C287C}" destId="{B6AED947-3E95-4CCF-824C-188284D13A8C}" srcOrd="59" destOrd="0" parTransId="{6776AF4B-E918-48B3-BF9F-4A4CFB1FF258}" sibTransId="{70FC3BA5-E825-4859-9E39-B9DD800EB615}"/>
    <dgm:cxn modelId="{CEFE4D23-2C8F-4D64-A084-2FE4B1A4F74A}" srcId="{E51F8B8C-A3D8-4977-A350-4E02D69C287C}" destId="{DC0D639A-AF14-45C4-B733-9FCBF97E5637}" srcOrd="11" destOrd="0" parTransId="{86921BA5-BCF0-42B9-B4C7-6F429BFC434B}" sibTransId="{B6E13E78-B39C-4326-990F-F599A0004DD0}"/>
    <dgm:cxn modelId="{5418A62B-D4EB-438A-AE7E-BD169326A7BF}" type="presOf" srcId="{6E080D5F-3468-44F2-9FF3-69E98DFD47A2}" destId="{35499E8B-7D0D-40A6-AE8D-CBC9354E052F}" srcOrd="0" destOrd="0" presId="urn:microsoft.com/office/officeart/2005/8/layout/default"/>
    <dgm:cxn modelId="{AB624FDD-C750-4233-B8F9-3F704AA45179}" srcId="{E51F8B8C-A3D8-4977-A350-4E02D69C287C}" destId="{A16B67F4-D8CB-4B73-AC03-B72B9BABFF47}" srcOrd="69" destOrd="0" parTransId="{85BD8E74-5CDA-43E1-89CB-AAB4EE52B63E}" sibTransId="{F50A82AB-A892-4586-869E-46F92D8A9E5B}"/>
    <dgm:cxn modelId="{A8E100BB-6AEE-4A81-A620-52C1A5F4D452}" type="presOf" srcId="{F6A47A5E-6173-49EA-A7C9-BC862F24D844}" destId="{05455A62-2898-4F96-B0BA-9A872DE8DDC6}" srcOrd="0" destOrd="0" presId="urn:microsoft.com/office/officeart/2005/8/layout/default"/>
    <dgm:cxn modelId="{8F9BF62E-C6C8-46E1-A5C9-5E1374B458D8}" type="presOf" srcId="{519B512B-B661-4F8B-91E7-8B4D2AC8E2E3}" destId="{DDB7036E-77FB-4F9A-89B3-FD474FD45368}" srcOrd="0" destOrd="0" presId="urn:microsoft.com/office/officeart/2005/8/layout/default"/>
    <dgm:cxn modelId="{A2FAA191-F2D9-4AD2-A0A7-2E8D00B1D16B}" type="presOf" srcId="{76B8C7A9-8D85-4684-B720-C19E1F3C47DB}" destId="{F87F99DB-2FC0-45B3-BDF7-A807A588167C}" srcOrd="0" destOrd="0" presId="urn:microsoft.com/office/officeart/2005/8/layout/default"/>
    <dgm:cxn modelId="{556FDA21-290C-4BF7-AF06-BC31CF06C405}" type="presOf" srcId="{0EE05444-6085-4742-A255-8E098227F04A}" destId="{5F17A991-935B-49EC-8EB8-E1C31C21D400}" srcOrd="0" destOrd="0" presId="urn:microsoft.com/office/officeart/2005/8/layout/default"/>
    <dgm:cxn modelId="{1772B697-EBB8-498D-AD8F-E92F3E5BA93E}" srcId="{E51F8B8C-A3D8-4977-A350-4E02D69C287C}" destId="{0EE05444-6085-4742-A255-8E098227F04A}" srcOrd="18" destOrd="0" parTransId="{9231DDF8-4812-4483-8120-4112369549A1}" sibTransId="{6A28A63A-2173-41D3-B95C-CACA32992351}"/>
    <dgm:cxn modelId="{624F5E1C-BBE2-4E0C-9045-619FFF7D29B7}" srcId="{E51F8B8C-A3D8-4977-A350-4E02D69C287C}" destId="{77094191-B3B7-424A-94E9-878E18C029C4}" srcOrd="39" destOrd="0" parTransId="{08776D65-29B4-4138-BD08-EAACA8841B02}" sibTransId="{9E88C800-6720-47F0-8D39-2E0B55B355A0}"/>
    <dgm:cxn modelId="{2C75A8F1-C2B4-4F8D-AE21-0EC69416F98B}" type="presOf" srcId="{532EA142-C2FE-418B-8AA1-E157814F7FE3}" destId="{A121ACD9-B9E6-4B8C-99BA-1E57F0ED35B2}" srcOrd="0" destOrd="0" presId="urn:microsoft.com/office/officeart/2005/8/layout/default"/>
    <dgm:cxn modelId="{3235FCD0-4C82-45BD-B8B0-080F1298AA00}" type="presOf" srcId="{C99B7EC4-464A-4C2B-BB24-410F50234DE4}" destId="{E137E5AF-5AFF-4025-A64A-1BA589780711}" srcOrd="0" destOrd="0" presId="urn:microsoft.com/office/officeart/2005/8/layout/default"/>
    <dgm:cxn modelId="{276A75DB-DE7A-4878-9E0B-233FAC6B6FEE}" type="presOf" srcId="{E1144816-4606-4FB0-9830-F4C0F59A98CB}" destId="{C59E311E-3AC8-480C-9037-873FD74CD477}" srcOrd="0" destOrd="0" presId="urn:microsoft.com/office/officeart/2005/8/layout/default"/>
    <dgm:cxn modelId="{ECC544CF-8DB8-4400-9B92-7AA6AA934D9B}" srcId="{E51F8B8C-A3D8-4977-A350-4E02D69C287C}" destId="{7A86B29F-C133-4019-A9C0-2F6159A5EBEC}" srcOrd="72" destOrd="0" parTransId="{9A284416-F67F-44F8-A8C3-4C58F81E45C7}" sibTransId="{9C8430BB-52CC-4E7B-B470-F0AA61DBABE4}"/>
    <dgm:cxn modelId="{82BDF67C-F1C2-45B5-A6DB-AA36C264416C}" type="presOf" srcId="{C08E2371-A7F4-4ECB-A914-DF13377F6810}" destId="{84BF44F1-0789-428A-A295-001C0CE340F6}" srcOrd="0" destOrd="0" presId="urn:microsoft.com/office/officeart/2005/8/layout/default"/>
    <dgm:cxn modelId="{B97BCC65-876E-4BC2-A41C-5D2FB7349222}" srcId="{E51F8B8C-A3D8-4977-A350-4E02D69C287C}" destId="{9DB42B03-EA69-4E21-B054-D277B09747B4}" srcOrd="4" destOrd="0" parTransId="{00D48371-F793-41B4-AD4C-9BEEA1496B69}" sibTransId="{2504DDA0-A28F-4E4E-8D22-8963E327646C}"/>
    <dgm:cxn modelId="{10A7A223-0886-41AD-BABF-C9326D84583C}" type="presOf" srcId="{E51F8B8C-A3D8-4977-A350-4E02D69C287C}" destId="{6D3CBA18-C8AC-4FD5-92DF-D4BF8870C646}" srcOrd="0" destOrd="0" presId="urn:microsoft.com/office/officeart/2005/8/layout/default"/>
    <dgm:cxn modelId="{795AF028-30C5-4587-A595-FA0C6AC63247}" type="presOf" srcId="{C2F85A24-6152-405D-995E-679A4D9A0A60}" destId="{3F36FE41-6C84-4630-B10B-677FB06D0B7A}" srcOrd="0" destOrd="0" presId="urn:microsoft.com/office/officeart/2005/8/layout/default"/>
    <dgm:cxn modelId="{9779E383-4F87-43DC-906D-B580D3D56D4E}" type="presOf" srcId="{CCBCF97E-DDE5-495B-81F3-04F2A9BB7499}" destId="{91AB7FB1-9F45-4B4E-9E39-F11F88B5D92C}" srcOrd="0" destOrd="0" presId="urn:microsoft.com/office/officeart/2005/8/layout/default"/>
    <dgm:cxn modelId="{C4C34CCE-FB83-4C2A-86CB-34988D2797A1}" srcId="{E51F8B8C-A3D8-4977-A350-4E02D69C287C}" destId="{C08E2371-A7F4-4ECB-A914-DF13377F6810}" srcOrd="84" destOrd="0" parTransId="{C9DDEBEB-90B6-47CA-B3BF-597B2DC88F57}" sibTransId="{85F29BB5-220B-447B-8724-7C849E3242C9}"/>
    <dgm:cxn modelId="{C93E1AF5-AD6F-4253-B8E2-575D75E2030D}" type="presOf" srcId="{EC6B7A64-8FF9-49C4-873A-0251A3F0C02B}" destId="{C2F58A17-C76C-4D0C-ADFA-D1DC783DC624}" srcOrd="0" destOrd="0" presId="urn:microsoft.com/office/officeart/2005/8/layout/default"/>
    <dgm:cxn modelId="{66FFEE83-C2FD-486D-BA38-04655BAEDF51}" type="presOf" srcId="{B2CAD963-EBEF-493D-875F-15AD18CCB214}" destId="{90233CE6-30F6-4239-9E76-55F01F814358}" srcOrd="0" destOrd="0" presId="urn:microsoft.com/office/officeart/2005/8/layout/default"/>
    <dgm:cxn modelId="{5BC5E111-76C6-46B6-B713-22180EA6DC0C}" srcId="{E51F8B8C-A3D8-4977-A350-4E02D69C287C}" destId="{7E19CDF2-1895-4AFC-906F-C1FF6455B5C8}" srcOrd="63" destOrd="0" parTransId="{572B43FB-61C1-4030-BDC5-C3769BD82C0F}" sibTransId="{1CF571EE-CC5B-4015-BFF2-BD9B8734CFF7}"/>
    <dgm:cxn modelId="{CDACDA6B-4078-4780-88DA-2B3E0FD60597}" type="presOf" srcId="{DC0D639A-AF14-45C4-B733-9FCBF97E5637}" destId="{6E3365C0-D433-4FF9-907C-F63B7BBC73F9}" srcOrd="0" destOrd="0" presId="urn:microsoft.com/office/officeart/2005/8/layout/default"/>
    <dgm:cxn modelId="{14E9D8C8-DD7B-473D-BC3C-789DBC52FD32}" srcId="{E51F8B8C-A3D8-4977-A350-4E02D69C287C}" destId="{82008576-E6EF-4474-A823-9E0D78FCFD9B}" srcOrd="5" destOrd="0" parTransId="{0B64974A-6A3D-481B-AAC2-AE5256242B7E}" sibTransId="{E0D1A618-F008-44A8-951B-D3A06639CBA8}"/>
    <dgm:cxn modelId="{B726FE36-E16D-4681-B298-FE349CFDBE80}" srcId="{E51F8B8C-A3D8-4977-A350-4E02D69C287C}" destId="{9E7293B3-8E83-4580-B8F3-9C36102357F5}" srcOrd="34" destOrd="0" parTransId="{37CD85A4-3457-4D7A-B3DF-253CDF86DD5F}" sibTransId="{5A9156FD-22C7-40C2-8E54-96A3CEB031FA}"/>
    <dgm:cxn modelId="{25D793A9-6859-475B-B136-36667EF9897D}" srcId="{E51F8B8C-A3D8-4977-A350-4E02D69C287C}" destId="{2C219179-D473-449C-BA41-B00F8CB9CBFF}" srcOrd="75" destOrd="0" parTransId="{4557EC37-55F8-4EF9-9933-042E3BAEB9F0}" sibTransId="{E7BB814B-94B8-4C56-8968-BFAD0EA521A1}"/>
    <dgm:cxn modelId="{DBFDBBB3-5B76-4851-AF41-779E81965FB6}" type="presOf" srcId="{761497FA-1AE6-4FDE-B1E3-AC73F534B435}" destId="{A643B78D-98FA-457C-8CCB-D9443859B8F3}" srcOrd="0" destOrd="0" presId="urn:microsoft.com/office/officeart/2005/8/layout/default"/>
    <dgm:cxn modelId="{924154BD-E17C-4002-BB47-62AB108CA0DD}" srcId="{E51F8B8C-A3D8-4977-A350-4E02D69C287C}" destId="{D56F31D5-5428-4F86-B1F1-D1FAC9ADD6EC}" srcOrd="80" destOrd="0" parTransId="{DD44A369-F8BE-46E8-8894-0A8942231949}" sibTransId="{480E185F-7FFE-40CA-92B7-1EE04A39FF6D}"/>
    <dgm:cxn modelId="{D2678EFE-4511-4A8B-B29B-EBCA4D9B171E}" type="presOf" srcId="{0979DD26-C84D-4DAC-9C1C-689DA3AB6B8F}" destId="{3E2C9903-DC8B-4A21-972B-A1D9AF11AA85}" srcOrd="0" destOrd="0" presId="urn:microsoft.com/office/officeart/2005/8/layout/default"/>
    <dgm:cxn modelId="{ECCCBD57-9DFF-4877-87DA-F99B1DA4C9F7}" srcId="{E51F8B8C-A3D8-4977-A350-4E02D69C287C}" destId="{E1144816-4606-4FB0-9830-F4C0F59A98CB}" srcOrd="13" destOrd="0" parTransId="{72FB9051-4215-447D-8F46-A91FE4E83ABD}" sibTransId="{5F534939-DCD0-4E99-8E44-E635C8B75ED7}"/>
    <dgm:cxn modelId="{707B7886-4ED7-4F86-8B79-657CC6961261}" srcId="{E51F8B8C-A3D8-4977-A350-4E02D69C287C}" destId="{DA117B02-E652-4427-98D6-43EAA4F6A132}" srcOrd="83" destOrd="0" parTransId="{7D8A4182-1FD3-4CAE-9CAE-B336801A45BC}" sibTransId="{2C56E3F3-E0E1-4F6C-A44D-89FEF7134D7A}"/>
    <dgm:cxn modelId="{466FDAD4-22EB-442A-98F1-C4DBAA5958B6}" srcId="{E51F8B8C-A3D8-4977-A350-4E02D69C287C}" destId="{71F1AD72-028D-47C2-BED8-2DD64CC8FCC3}" srcOrd="56" destOrd="0" parTransId="{32835FD1-3F3B-4584-98BF-C61F5B8D57EE}" sibTransId="{0197609D-BCDA-4545-977E-34631FF8AD6B}"/>
    <dgm:cxn modelId="{74C2D06A-12CC-4612-A49D-D33E6293B8B6}" type="presOf" srcId="{07B4437B-A417-4132-84AE-08F11C3C17CF}" destId="{B8E18320-AD3F-4F62-9E51-4527891CA2EC}" srcOrd="0" destOrd="0" presId="urn:microsoft.com/office/officeart/2005/8/layout/default"/>
    <dgm:cxn modelId="{70C64AE0-4F46-40B9-9502-8959A1D9D30C}" type="presOf" srcId="{3AD028D9-84CE-4F01-9330-1E25BB5DD071}" destId="{BAB27F6B-5B2B-4812-A6C6-7CB33B67628E}" srcOrd="0" destOrd="0" presId="urn:microsoft.com/office/officeart/2005/8/layout/default"/>
    <dgm:cxn modelId="{BA2BEDA2-6178-4968-8E77-F091E984C0E2}" type="presOf" srcId="{F7BBB654-5F2E-47B9-BAE0-8B4AEB2EA23D}" destId="{18A0FE2B-319A-4A6E-B726-CC1B62AA3AB8}" srcOrd="0" destOrd="0" presId="urn:microsoft.com/office/officeart/2005/8/layout/default"/>
    <dgm:cxn modelId="{0A43958A-0C2E-4265-8DC0-C8EFD8C1AD98}" srcId="{E51F8B8C-A3D8-4977-A350-4E02D69C287C}" destId="{A5C045A9-4AA1-4696-A920-ACB877562350}" srcOrd="79" destOrd="0" parTransId="{0E21A179-5E92-4E20-83D2-0707F1BD09E7}" sibTransId="{62B650D4-F859-4C43-8532-A3BEABA9D21C}"/>
    <dgm:cxn modelId="{D8A5FEC9-970D-4552-B177-6DE6C9CC54A5}" type="presOf" srcId="{1DAE10DB-5DEB-4EF5-AB10-F3902302ABF4}" destId="{280ABEB8-4241-4BD2-8D21-66E078E45823}" srcOrd="0" destOrd="0" presId="urn:microsoft.com/office/officeart/2005/8/layout/default"/>
    <dgm:cxn modelId="{1C8495D0-6CC4-4BF1-BCC8-0569E93F844D}" type="presOf" srcId="{2400E85B-EE67-41C8-ADDA-3B8708352A87}" destId="{D6017FAB-2C9B-4615-B991-D6FB6A7C4A07}" srcOrd="0" destOrd="0" presId="urn:microsoft.com/office/officeart/2005/8/layout/default"/>
    <dgm:cxn modelId="{219F0662-5E04-4317-A5FD-2958E4EC8911}" type="presOf" srcId="{9DB42B03-EA69-4E21-B054-D277B09747B4}" destId="{5EDE6CF7-6918-4244-A4FE-B7BE94F88DCE}" srcOrd="0" destOrd="0" presId="urn:microsoft.com/office/officeart/2005/8/layout/default"/>
    <dgm:cxn modelId="{C2252D7B-942D-490B-B150-C798AC7816B4}" type="presOf" srcId="{2C219179-D473-449C-BA41-B00F8CB9CBFF}" destId="{13799D8C-AFF7-4709-86C4-4999C8592442}" srcOrd="0" destOrd="0" presId="urn:microsoft.com/office/officeart/2005/8/layout/default"/>
    <dgm:cxn modelId="{849759BC-5E8A-4C35-9264-A4BBEACFD4CD}" type="presOf" srcId="{5614636C-EA1D-4C2C-9C7B-247288FA2F97}" destId="{1DAA0598-B2B5-4117-8883-DCBDF1B93192}" srcOrd="0" destOrd="0" presId="urn:microsoft.com/office/officeart/2005/8/layout/default"/>
    <dgm:cxn modelId="{85D79314-BC70-4915-98BF-BD1004CE3BA9}" srcId="{E51F8B8C-A3D8-4977-A350-4E02D69C287C}" destId="{39844BB4-26A0-4E96-8820-74D44B1F37AE}" srcOrd="46" destOrd="0" parTransId="{6328C90B-6DD6-4C94-95B2-415EE4952396}" sibTransId="{7CBBED28-93CA-43A6-BC13-678A28E8C822}"/>
    <dgm:cxn modelId="{67F17599-3FF3-4B75-BD5C-D0F1FF5E9C64}" srcId="{E51F8B8C-A3D8-4977-A350-4E02D69C287C}" destId="{6A671D3D-CEA6-421F-ADF1-8711E346C810}" srcOrd="86" destOrd="0" parTransId="{AAD1FED2-E6CC-411D-B0F7-9B506559AD1B}" sibTransId="{42B328A9-EBFD-4347-865E-CC032ADF755E}"/>
    <dgm:cxn modelId="{04BFE7C3-FF8D-4FEC-969F-AEB377B43D11}" srcId="{E51F8B8C-A3D8-4977-A350-4E02D69C287C}" destId="{2CD2BF13-BFAF-4341-B6DD-36B938EAAD79}" srcOrd="0" destOrd="0" parTransId="{8CF7E56B-23FF-448A-AE92-9FA26109BB49}" sibTransId="{61CF4D2D-BB48-443C-AECC-4A2C507BE3D9}"/>
    <dgm:cxn modelId="{A0BF2216-8135-4A46-85DE-6B327225C6A8}" type="presOf" srcId="{7F650B29-4B71-458F-AC37-645AADDD10FD}" destId="{C3530B4A-E9A3-4ADF-80E2-D9C32D5DAF9D}" srcOrd="0" destOrd="0" presId="urn:microsoft.com/office/officeart/2005/8/layout/default"/>
    <dgm:cxn modelId="{34365979-4A2F-425D-B4A6-E571520FCAB2}" type="presOf" srcId="{5E58294F-28F2-4586-AE19-11BBAFF4E334}" destId="{A0B49FD6-020E-4BF3-B56C-5D6C9DE79766}" srcOrd="0" destOrd="0" presId="urn:microsoft.com/office/officeart/2005/8/layout/default"/>
    <dgm:cxn modelId="{5DB364BD-CF91-47A7-AF25-185272AB90BE}" type="presOf" srcId="{3C363B2A-DEB3-4587-AF09-5D607D7D7D50}" destId="{E83C9897-1050-4D61-9F9D-DB5320D6890A}" srcOrd="0" destOrd="0" presId="urn:microsoft.com/office/officeart/2005/8/layout/default"/>
    <dgm:cxn modelId="{14DE7873-4F7B-43BC-A8C0-E67E38F6083F}" type="presOf" srcId="{6A671D3D-CEA6-421F-ADF1-8711E346C810}" destId="{9E486785-6256-4EDC-9814-42D18FD59030}" srcOrd="0" destOrd="0" presId="urn:microsoft.com/office/officeart/2005/8/layout/default"/>
    <dgm:cxn modelId="{9F0587F2-98BA-467B-8FC6-02403EB257C9}" type="presOf" srcId="{3553E458-D299-411E-A63C-6F20815D3C91}" destId="{EE0FD172-3BE1-4E3A-8782-ABFDE7250B5A}" srcOrd="0" destOrd="0" presId="urn:microsoft.com/office/officeart/2005/8/layout/default"/>
    <dgm:cxn modelId="{8CE25487-0E9C-4B29-831E-AA0F723BF637}" srcId="{E51F8B8C-A3D8-4977-A350-4E02D69C287C}" destId="{8FA5664C-DF19-4121-91C6-98BFF580F1CB}" srcOrd="64" destOrd="0" parTransId="{54A2AFDE-BAB1-4D0A-9FF4-3F749380DFBA}" sibTransId="{D17C3317-6FAA-4BAC-9135-F5058DE52F24}"/>
    <dgm:cxn modelId="{56BB460A-B9B6-4A83-8CA5-962119C1E0E9}" srcId="{E51F8B8C-A3D8-4977-A350-4E02D69C287C}" destId="{EC6B7A64-8FF9-49C4-873A-0251A3F0C02B}" srcOrd="35" destOrd="0" parTransId="{9096362A-3FA5-4F4C-9F52-35EE97E49361}" sibTransId="{D4A42E4A-CA05-4DCB-AE97-AC2919FDE846}"/>
    <dgm:cxn modelId="{EB1638A4-0CB0-4E49-8AC0-9E07BA19CB75}" srcId="{E51F8B8C-A3D8-4977-A350-4E02D69C287C}" destId="{3890DDA5-49A9-439F-86DD-AF59C5BF2926}" srcOrd="55" destOrd="0" parTransId="{6F57FC06-6AEE-4833-9160-EBC7AF620217}" sibTransId="{B73FB36A-A4C9-4388-880B-AA91213EA5E8}"/>
    <dgm:cxn modelId="{40368964-C094-477F-901B-8D8E2F3D2782}" type="presOf" srcId="{B9D7CF7C-2D92-4EC2-9B76-713DB2B945FF}" destId="{9BD52830-9DE9-453C-B3AC-559643F588C7}" srcOrd="0" destOrd="0" presId="urn:microsoft.com/office/officeart/2005/8/layout/default"/>
    <dgm:cxn modelId="{F1AE7B6B-82C5-42AC-973B-586A2B53714F}" srcId="{E51F8B8C-A3D8-4977-A350-4E02D69C287C}" destId="{C5DC1DEB-3ED0-4A7F-9010-1C55AB1F0AC8}" srcOrd="27" destOrd="0" parTransId="{71C595CF-04AC-4398-AABC-A2589417DB8B}" sibTransId="{3CA505C0-17A7-43F6-BB62-E1CADD824A64}"/>
    <dgm:cxn modelId="{C9204CD9-7DF3-4025-BDFC-7038476012DD}" srcId="{E51F8B8C-A3D8-4977-A350-4E02D69C287C}" destId="{98EDBFBB-BAFA-4BA3-B7CD-E6448CB75D57}" srcOrd="85" destOrd="0" parTransId="{42ED07D2-6322-4BAC-8425-0CF17528CBA8}" sibTransId="{34691E85-BE7E-4DB8-B72B-90257C469225}"/>
    <dgm:cxn modelId="{3E781775-EB09-4E99-99DF-319D2487DA9E}" type="presOf" srcId="{8F25DB7D-7449-467B-AB8C-864405F82E10}" destId="{8516B6BE-B862-4FB4-BC55-0A46348DB3AC}" srcOrd="0" destOrd="0" presId="urn:microsoft.com/office/officeart/2005/8/layout/default"/>
    <dgm:cxn modelId="{E07B90F2-0F53-465B-AF9C-B4F25A69A09E}" type="presOf" srcId="{CC93E559-6C64-4AF3-9306-096BBE64EA2F}" destId="{5311DBA8-AFF8-42BD-A1DB-BC57A3F155C1}" srcOrd="0" destOrd="0" presId="urn:microsoft.com/office/officeart/2005/8/layout/default"/>
    <dgm:cxn modelId="{4AD10AC5-0E33-4CFB-BD4A-24D5180E35AB}" type="presOf" srcId="{A525AB44-42B3-41E7-95FE-C47C6FAEACC4}" destId="{E0B1CC61-816A-4C77-90DB-BB2629320276}" srcOrd="0" destOrd="0" presId="urn:microsoft.com/office/officeart/2005/8/layout/default"/>
    <dgm:cxn modelId="{8BCDF2C8-9088-41B6-BCD5-A6349E8B5416}" type="presOf" srcId="{71F1AD72-028D-47C2-BED8-2DD64CC8FCC3}" destId="{DD33002E-D745-4E84-AA18-95B9E9D9EC1D}" srcOrd="0" destOrd="0" presId="urn:microsoft.com/office/officeart/2005/8/layout/default"/>
    <dgm:cxn modelId="{CFA983BE-333D-44A7-A047-6A624819BBF0}" srcId="{E51F8B8C-A3D8-4977-A350-4E02D69C287C}" destId="{698B8BE2-E211-4E6C-9A9D-4D4E6458D805}" srcOrd="65" destOrd="0" parTransId="{6693EB4E-C2B6-4CCA-9F67-70B358F64B97}" sibTransId="{A3C40A4E-E04D-4CE0-9AA0-09BB3AD09788}"/>
    <dgm:cxn modelId="{ACBD82C4-737E-4CD0-81FF-F9EF921B2688}" srcId="{E51F8B8C-A3D8-4977-A350-4E02D69C287C}" destId="{532EA142-C2FE-418B-8AA1-E157814F7FE3}" srcOrd="21" destOrd="0" parTransId="{23941E7F-6B67-4769-94DC-80A9EED8BDC4}" sibTransId="{4A2F6C19-2B83-4FB1-9A4E-CD326CB6A6C1}"/>
    <dgm:cxn modelId="{039EFFA0-FD39-4C43-B450-0394C495EC08}" srcId="{E51F8B8C-A3D8-4977-A350-4E02D69C287C}" destId="{108E9969-1CBC-4908-8663-CBFF80569EB5}" srcOrd="62" destOrd="0" parTransId="{94B3CDDB-60A8-47ED-AD1D-95EF3C86D236}" sibTransId="{2B66A7A2-648E-45EE-A0C8-5E95D8F82337}"/>
    <dgm:cxn modelId="{C3534C3E-BC32-496D-93E6-991F869EF79E}" type="presOf" srcId="{D56F31D5-5428-4F86-B1F1-D1FAC9ADD6EC}" destId="{B13ED376-2A69-4C5B-A5B1-C2D47D86D8F5}" srcOrd="0" destOrd="0" presId="urn:microsoft.com/office/officeart/2005/8/layout/default"/>
    <dgm:cxn modelId="{EE2D892E-F2BF-4936-8535-03A0F201ED2C}" srcId="{E51F8B8C-A3D8-4977-A350-4E02D69C287C}" destId="{76B8C7A9-8D85-4684-B720-C19E1F3C47DB}" srcOrd="48" destOrd="0" parTransId="{7A50646E-686C-4625-A8E8-676372053433}" sibTransId="{B8CBDF54-D30B-4AE6-B739-98B0524410FA}"/>
    <dgm:cxn modelId="{22B33085-AE0D-461E-9728-CBBE62599FA3}" type="presOf" srcId="{DA117B02-E652-4427-98D6-43EAA4F6A132}" destId="{04D77BB8-4965-4D42-BA99-013A0579EE85}" srcOrd="0" destOrd="0" presId="urn:microsoft.com/office/officeart/2005/8/layout/default"/>
    <dgm:cxn modelId="{BC2F95DD-8473-422A-8E6B-A612EA566568}" type="presOf" srcId="{1D75F550-DA27-42E8-BCB6-57B7C8ADB2A6}" destId="{7FF3D7EF-F952-4BC0-A7EF-C063146300A6}" srcOrd="0" destOrd="0" presId="urn:microsoft.com/office/officeart/2005/8/layout/default"/>
    <dgm:cxn modelId="{AA4EDCA9-B2A2-4FCC-8278-29BAB02C054E}" srcId="{E51F8B8C-A3D8-4977-A350-4E02D69C287C}" destId="{07B4437B-A417-4132-84AE-08F11C3C17CF}" srcOrd="20" destOrd="0" parTransId="{31F7A37C-0B85-40A6-8148-57E80F2807B0}" sibTransId="{9CAED8E8-6663-4588-9B1F-71450148DFA8}"/>
    <dgm:cxn modelId="{985ABC57-535A-4DD3-8F16-5887F3796DEC}" srcId="{E51F8B8C-A3D8-4977-A350-4E02D69C287C}" destId="{8426CA96-8593-4143-B509-FF9BBB996820}" srcOrd="8" destOrd="0" parTransId="{F294FC97-F11E-471A-BCC9-63517806F8D1}" sibTransId="{79B7BCA9-1A49-4A45-8424-7FD3F218BFB8}"/>
    <dgm:cxn modelId="{D73934E8-2B43-4FAD-8E0B-875C4F0C164F}" type="presOf" srcId="{98EDBFBB-BAFA-4BA3-B7CD-E6448CB75D57}" destId="{3135B7FD-56B2-490B-9FB5-2A970B285206}" srcOrd="0" destOrd="0" presId="urn:microsoft.com/office/officeart/2005/8/layout/default"/>
    <dgm:cxn modelId="{E2ECC984-6317-444F-B70C-6E67644AC6E5}" type="presOf" srcId="{CDC78790-F414-438F-997E-C4537A981398}" destId="{F3E5B544-9B48-47A0-92E7-E2231ABB97AC}" srcOrd="0" destOrd="0" presId="urn:microsoft.com/office/officeart/2005/8/layout/default"/>
    <dgm:cxn modelId="{CDD6335F-8076-4FEB-83C1-FE519AF56363}" type="presOf" srcId="{59AC638B-E316-492A-A524-79D81C32F47C}" destId="{1C59D157-B449-4E93-95A4-B5B249CBFF91}" srcOrd="0" destOrd="0" presId="urn:microsoft.com/office/officeart/2005/8/layout/default"/>
    <dgm:cxn modelId="{C7DEB109-24F2-4781-9B2C-F7A0DEAAD14F}" type="presOf" srcId="{AAD6777C-0F4D-4A90-879C-3314F05F05DB}" destId="{07CA5CB5-3678-4E57-91D5-FB38023D1D4A}" srcOrd="0" destOrd="0" presId="urn:microsoft.com/office/officeart/2005/8/layout/default"/>
    <dgm:cxn modelId="{5D3B9B9D-F5EC-4DAB-BE27-8C1A2319F17B}" type="presOf" srcId="{CE43552D-2500-489B-A37F-705655E94D0F}" destId="{93578731-42D6-4736-A10B-C3A51B505782}" srcOrd="0" destOrd="0" presId="urn:microsoft.com/office/officeart/2005/8/layout/default"/>
    <dgm:cxn modelId="{E3C0CB88-73AC-4CE6-AA1D-D379AB5C1A49}" srcId="{E51F8B8C-A3D8-4977-A350-4E02D69C287C}" destId="{3AD028D9-84CE-4F01-9330-1E25BB5DD071}" srcOrd="31" destOrd="0" parTransId="{EA79CB52-9010-4A43-AC8C-4AFE1FB2B965}" sibTransId="{BDBA6729-9D20-4B2F-8D1D-99E831FE2F4A}"/>
    <dgm:cxn modelId="{867961D9-904A-4521-8B6B-1FBF8ED45EDF}" srcId="{E51F8B8C-A3D8-4977-A350-4E02D69C287C}" destId="{5E58294F-28F2-4586-AE19-11BBAFF4E334}" srcOrd="33" destOrd="0" parTransId="{69CF3634-251D-4234-9315-6F7648F6AB78}" sibTransId="{C373CA1B-C48B-4C22-8EE2-56A5FE6AA394}"/>
    <dgm:cxn modelId="{5519599E-4E4A-404D-8BBA-D8C1E124277A}" srcId="{E51F8B8C-A3D8-4977-A350-4E02D69C287C}" destId="{2400E85B-EE67-41C8-ADDA-3B8708352A87}" srcOrd="29" destOrd="0" parTransId="{4CEFA769-8E55-4DA9-A5CF-71721AB970D3}" sibTransId="{E0A1EC45-671B-49E8-B225-1B6334836002}"/>
    <dgm:cxn modelId="{668FFF77-0F52-4D79-8D91-EECAB55F46B7}" type="presOf" srcId="{2166D8DD-3469-4B99-BFEE-3A9FA620FDF2}" destId="{C0C7865B-E583-40C1-9B33-BD4C70004E3E}" srcOrd="0" destOrd="0" presId="urn:microsoft.com/office/officeart/2005/8/layout/default"/>
    <dgm:cxn modelId="{701A4D76-5758-4632-8327-7D6668630C0C}" type="presOf" srcId="{A5C045A9-4AA1-4696-A920-ACB877562350}" destId="{052E8E50-79D6-492E-8C20-0AAEB5148879}" srcOrd="0" destOrd="0" presId="urn:microsoft.com/office/officeart/2005/8/layout/default"/>
    <dgm:cxn modelId="{247067D6-056E-44C0-A6D4-E20A4764B1A2}" srcId="{E51F8B8C-A3D8-4977-A350-4E02D69C287C}" destId="{05DA5364-1AF8-4BE1-BB4B-8B9B82C2C9ED}" srcOrd="12" destOrd="0" parTransId="{08FAE66B-2042-454E-84E9-CB557E1C978B}" sibTransId="{665253DD-6D2B-4D45-9D0A-9250850EAC0B}"/>
    <dgm:cxn modelId="{55DAAC3C-3EFE-4093-946A-DA56CD522880}" srcId="{E51F8B8C-A3D8-4977-A350-4E02D69C287C}" destId="{CC93E559-6C64-4AF3-9306-096BBE64EA2F}" srcOrd="15" destOrd="0" parTransId="{0346F9D9-1254-477A-9873-8A15F65130ED}" sibTransId="{25674BAF-D097-4D59-924F-A2EB3305C025}"/>
    <dgm:cxn modelId="{3928CE2F-3895-4CBF-9ECB-67CC8A01D7C0}" srcId="{E51F8B8C-A3D8-4977-A350-4E02D69C287C}" destId="{AAD6777C-0F4D-4A90-879C-3314F05F05DB}" srcOrd="16" destOrd="0" parTransId="{263703FD-F2B0-4325-8D72-04F483698E39}" sibTransId="{8EFCF7CA-E67F-4427-9B6F-C4A1D07F9059}"/>
    <dgm:cxn modelId="{17D9B22A-4FF0-46D0-B263-1B1BC52B85E7}" type="presOf" srcId="{8FA5664C-DF19-4121-91C6-98BFF580F1CB}" destId="{C6CB29D8-B209-4F6E-B7A0-917627718500}" srcOrd="0" destOrd="0" presId="urn:microsoft.com/office/officeart/2005/8/layout/default"/>
    <dgm:cxn modelId="{C76D009B-3643-4D03-B238-B96F91DC8A7D}" srcId="{E51F8B8C-A3D8-4977-A350-4E02D69C287C}" destId="{3167BCAF-EE75-4B1D-A2BD-4E2EC1FD63EC}" srcOrd="28" destOrd="0" parTransId="{C105FEC2-BF3E-4284-867B-BA22E37E00E0}" sibTransId="{33D05FEF-F8E1-4ADD-94C7-6FBCAACF9080}"/>
    <dgm:cxn modelId="{15C59A00-8CB3-414C-94E3-CBEE10EA4CAB}" type="presOf" srcId="{5CAFCEDD-D45E-4676-AF41-1DB489CFCC71}" destId="{4BD34EB2-7931-4BF4-BD16-CA859A830882}" srcOrd="0" destOrd="0" presId="urn:microsoft.com/office/officeart/2005/8/layout/default"/>
    <dgm:cxn modelId="{02B11930-3E68-4787-9C2F-A323CB0F269A}" type="presOf" srcId="{8290479F-AD58-49D4-8C54-7993E5FD08B1}" destId="{92426E81-0C41-432F-B0A2-6096EBCF8A79}" srcOrd="0" destOrd="0" presId="urn:microsoft.com/office/officeart/2005/8/layout/default"/>
    <dgm:cxn modelId="{5CEA93BB-9AA5-4CB0-A225-80B731FE95D8}" type="presOf" srcId="{BF94A371-09BE-409F-BC38-311CBDA33629}" destId="{8B6CEF29-EF58-464D-9117-DC442F09A51C}" srcOrd="0" destOrd="0" presId="urn:microsoft.com/office/officeart/2005/8/layout/default"/>
    <dgm:cxn modelId="{99089008-D8E3-479A-8C74-CA10094DC2DA}" srcId="{E51F8B8C-A3D8-4977-A350-4E02D69C287C}" destId="{1DAE10DB-5DEB-4EF5-AB10-F3902302ABF4}" srcOrd="82" destOrd="0" parTransId="{E6C9AECE-62EA-4486-9646-694FBD47F27B}" sibTransId="{D3A22D09-A689-4CB9-95FB-3B6695FDD86F}"/>
    <dgm:cxn modelId="{1BE76C7E-14E2-4966-875E-A68E6C23E3C2}" srcId="{E51F8B8C-A3D8-4977-A350-4E02D69C287C}" destId="{C99B7EC4-464A-4C2B-BB24-410F50234DE4}" srcOrd="32" destOrd="0" parTransId="{A4A92E49-F783-42A1-9492-44587346AAFA}" sibTransId="{5B04D850-35AA-41FC-A71E-3ECD0AAA817D}"/>
    <dgm:cxn modelId="{3B79F918-B8CE-4A6C-88BE-28976AEA4086}" type="presOf" srcId="{82008576-E6EF-4474-A823-9E0D78FCFD9B}" destId="{8216FDBA-C7B4-41C8-B41D-BB5B16E47FF7}" srcOrd="0" destOrd="0" presId="urn:microsoft.com/office/officeart/2005/8/layout/default"/>
    <dgm:cxn modelId="{57D65DA8-BB20-4460-87E8-A95A2EE81840}" srcId="{E51F8B8C-A3D8-4977-A350-4E02D69C287C}" destId="{C2F85A24-6152-405D-995E-679A4D9A0A60}" srcOrd="38" destOrd="0" parTransId="{8C326F04-2B78-40EA-AA19-207CCBAE9217}" sibTransId="{8E3044E3-2F14-4631-9A5A-4B35B536847B}"/>
    <dgm:cxn modelId="{2D9FB34D-3699-485C-A5D3-1F5F17E500C2}" srcId="{E51F8B8C-A3D8-4977-A350-4E02D69C287C}" destId="{B2CAD963-EBEF-493D-875F-15AD18CCB214}" srcOrd="51" destOrd="0" parTransId="{7A39866E-883A-4952-B097-36A229812CB9}" sibTransId="{E1137321-2EBD-445A-9052-1F0802184016}"/>
    <dgm:cxn modelId="{32FCA47F-2DAF-462B-97E6-6A692E69AE34}" srcId="{E51F8B8C-A3D8-4977-A350-4E02D69C287C}" destId="{97F5D796-2A94-4280-AAE8-90CBD101C9D9}" srcOrd="78" destOrd="0" parTransId="{EF06A517-782D-4552-95DD-85084B087059}" sibTransId="{8D7A2F42-A3A8-4EC0-9ECA-408E71549CC0}"/>
    <dgm:cxn modelId="{AC1631E7-AECD-4FAC-9142-4F651E3740B0}" type="presOf" srcId="{C5DC1DEB-3ED0-4A7F-9010-1C55AB1F0AC8}" destId="{68AF84B8-7736-4957-AC76-956F4486D45D}" srcOrd="0" destOrd="0" presId="urn:microsoft.com/office/officeart/2005/8/layout/default"/>
    <dgm:cxn modelId="{6135D897-1AE4-4DB3-8E67-848CAB3E6AB3}" type="presOf" srcId="{05DA5364-1AF8-4BE1-BB4B-8B9B82C2C9ED}" destId="{AB63E5EF-93F4-423B-B3AE-5B2A1C25A145}" srcOrd="0" destOrd="0" presId="urn:microsoft.com/office/officeart/2005/8/layout/default"/>
    <dgm:cxn modelId="{EE9FD1BF-5F4D-47BC-B981-862356401E57}" srcId="{E51F8B8C-A3D8-4977-A350-4E02D69C287C}" destId="{8F25DB7D-7449-467B-AB8C-864405F82E10}" srcOrd="1" destOrd="0" parTransId="{DEC64705-9772-49AA-AE86-39BB173F19A5}" sibTransId="{CDC964B5-03FD-4AD4-8654-863BE638391D}"/>
    <dgm:cxn modelId="{94EEF719-A7A4-44D4-BDC3-1D35E0799C64}" srcId="{E51F8B8C-A3D8-4977-A350-4E02D69C287C}" destId="{2347FAB5-27ED-46B1-A75E-6825C16D4DE6}" srcOrd="40" destOrd="0" parTransId="{19F99214-D7AD-4E90-A900-2D069C0ACDBB}" sibTransId="{664B0ED0-A0E2-43E5-ACD6-33844FEB9236}"/>
    <dgm:cxn modelId="{8D7CEAEB-25CD-4B94-B11C-2881DDF272EB}" srcId="{E51F8B8C-A3D8-4977-A350-4E02D69C287C}" destId="{7F650B29-4B71-458F-AC37-645AADDD10FD}" srcOrd="67" destOrd="0" parTransId="{4F6123AC-0FA5-41EC-9DC8-3C19C9D18A54}" sibTransId="{3B667B10-3E6F-4228-AD00-EC2FD73E0967}"/>
    <dgm:cxn modelId="{7A986CDD-3464-4566-9AAB-76DDA897FF21}" srcId="{E51F8B8C-A3D8-4977-A350-4E02D69C287C}" destId="{CE43552D-2500-489B-A37F-705655E94D0F}" srcOrd="36" destOrd="0" parTransId="{F4D96A8E-570A-404F-B230-9E8286FC469D}" sibTransId="{480E18B1-7F7B-43C5-BB56-A6EED1447249}"/>
    <dgm:cxn modelId="{FCCD8D03-F063-49E1-A304-36232274FC72}" srcId="{E51F8B8C-A3D8-4977-A350-4E02D69C287C}" destId="{761497FA-1AE6-4FDE-B1E3-AC73F534B435}" srcOrd="3" destOrd="0" parTransId="{12A12C08-C5A0-4E91-8544-9749B1E08B65}" sibTransId="{78F2288C-9009-4278-B06E-85F830850F0D}"/>
    <dgm:cxn modelId="{035DE868-67EE-42DB-9E5D-AE3FAE053FA8}" srcId="{E51F8B8C-A3D8-4977-A350-4E02D69C287C}" destId="{7B4AE96E-DB89-4A04-9CEA-192FE29C7A6C}" srcOrd="49" destOrd="0" parTransId="{31DAF5B4-587F-4A93-8D91-445B79CB8EDE}" sibTransId="{B21EFC1D-5261-4FF5-8C85-90DBDE859EBC}"/>
    <dgm:cxn modelId="{6DBDD0AB-A63F-4DA9-BF06-CC117C2DBA62}" type="presOf" srcId="{2CD2BF13-BFAF-4341-B6DD-36B938EAAD79}" destId="{1C5B911E-C025-4EED-97CF-31E8BD915848}" srcOrd="0" destOrd="0" presId="urn:microsoft.com/office/officeart/2005/8/layout/default"/>
    <dgm:cxn modelId="{B316E721-E022-4B4E-8801-D77903581117}" srcId="{E51F8B8C-A3D8-4977-A350-4E02D69C287C}" destId="{5CAFCEDD-D45E-4676-AF41-1DB489CFCC71}" srcOrd="76" destOrd="0" parTransId="{A134F771-2839-4577-92C4-B7E5D55E790B}" sibTransId="{814AD0B1-1C62-4E94-8951-FDBAF244E262}"/>
    <dgm:cxn modelId="{FAE2EEEB-C6BD-489C-AE57-7A22155B073D}" srcId="{E51F8B8C-A3D8-4977-A350-4E02D69C287C}" destId="{E38AA861-121C-49BD-B16D-A42B78D39EC8}" srcOrd="68" destOrd="0" parTransId="{30997C53-CCB8-4129-963D-10EC6F7CC174}" sibTransId="{C1BCE5C6-8995-47FA-B865-3B8E41AB699E}"/>
    <dgm:cxn modelId="{73A3450C-83CA-4CCF-B995-39D86BE9EA78}" type="presOf" srcId="{3167BCAF-EE75-4B1D-A2BD-4E2EC1FD63EC}" destId="{7AF23E7A-F6EE-4C99-A5F9-FD696827A42A}" srcOrd="0" destOrd="0" presId="urn:microsoft.com/office/officeart/2005/8/layout/default"/>
    <dgm:cxn modelId="{0DB9080D-E661-49E3-86BD-29B32B9FC9F5}" srcId="{E51F8B8C-A3D8-4977-A350-4E02D69C287C}" destId="{8ED41998-1ACD-46D1-86FD-E4D82F2C7301}" srcOrd="66" destOrd="0" parTransId="{CF7E1F33-D7DE-4240-9310-1F35215EB557}" sibTransId="{EC5F0E79-B0ED-44EE-83B6-A365FAD83ED3}"/>
    <dgm:cxn modelId="{EAE1A018-FF57-4CAA-AE69-BBB0ACEF22A7}" type="presOf" srcId="{9E7293B3-8E83-4580-B8F3-9C36102357F5}" destId="{519C650D-3E97-401F-9D3D-6AEDD1E2CE62}" srcOrd="0" destOrd="0" presId="urn:microsoft.com/office/officeart/2005/8/layout/default"/>
    <dgm:cxn modelId="{A2D98216-E1CD-49D5-B5A9-E65C08CE7937}" srcId="{E51F8B8C-A3D8-4977-A350-4E02D69C287C}" destId="{6E080D5F-3468-44F2-9FF3-69E98DFD47A2}" srcOrd="74" destOrd="0" parTransId="{353BE45D-9325-434A-B62D-837E5098B4B9}" sibTransId="{86F69F6E-57A7-476D-B22A-ED9E1426FBF2}"/>
    <dgm:cxn modelId="{DD040EBE-B13B-4841-ADDA-EF4B02470F6C}" srcId="{E51F8B8C-A3D8-4977-A350-4E02D69C287C}" destId="{90AE6148-6FC5-4994-8CCE-9F0F5B1B5EDA}" srcOrd="25" destOrd="0" parTransId="{87022735-1B65-4A12-9C39-821B5149C13D}" sibTransId="{5AB910C7-D66C-440C-843C-716B668C680C}"/>
    <dgm:cxn modelId="{00575E97-D5CC-46F4-AACE-3CE059C6B82F}" srcId="{E51F8B8C-A3D8-4977-A350-4E02D69C287C}" destId="{040FCDC1-DC55-414F-9B14-D03F842CE3EA}" srcOrd="52" destOrd="0" parTransId="{208976EB-5027-4725-9579-126ED1F55D59}" sibTransId="{2AFE2283-C977-4448-8D2E-7FA9FDB86039}"/>
    <dgm:cxn modelId="{DC9A1B5A-1F9E-403D-A0C5-CCC764506429}" type="presOf" srcId="{108E9969-1CBC-4908-8663-CBFF80569EB5}" destId="{D191C00A-FE01-4423-9F8F-1945D911C238}" srcOrd="0" destOrd="0" presId="urn:microsoft.com/office/officeart/2005/8/layout/default"/>
    <dgm:cxn modelId="{C2061E98-3E8B-4986-851C-5066B82DE293}" srcId="{E51F8B8C-A3D8-4977-A350-4E02D69C287C}" destId="{1D75F550-DA27-42E8-BCB6-57B7C8ADB2A6}" srcOrd="57" destOrd="0" parTransId="{C64BE07D-42A9-46C8-B51F-A9FBEAED91C1}" sibTransId="{8CF95823-213F-40E9-A1DC-4071F736A83E}"/>
    <dgm:cxn modelId="{C0175ED1-1888-4CD8-98B1-0D62C2123913}" type="presOf" srcId="{90AE6148-6FC5-4994-8CCE-9F0F5B1B5EDA}" destId="{96F85D40-FAD2-4003-806B-A68F49F8613D}" srcOrd="0" destOrd="0" presId="urn:microsoft.com/office/officeart/2005/8/layout/default"/>
    <dgm:cxn modelId="{E842FC01-F17B-41E5-AFCE-D41BC49203DF}" srcId="{E51F8B8C-A3D8-4977-A350-4E02D69C287C}" destId="{44FB6304-D074-45C8-96F3-EEB0FDB3314D}" srcOrd="23" destOrd="0" parTransId="{67BC0787-F803-4285-A74D-73304043AFF2}" sibTransId="{1F28D5D8-45A6-4883-84A5-CF0D879715FD}"/>
    <dgm:cxn modelId="{09E961B8-E7C5-45C8-A76E-DE8A47B4D9B3}" type="presOf" srcId="{77094191-B3B7-424A-94E9-878E18C029C4}" destId="{002CD0FE-0177-4089-A9E4-409FE1738210}" srcOrd="0" destOrd="0" presId="urn:microsoft.com/office/officeart/2005/8/layout/default"/>
    <dgm:cxn modelId="{B8D94256-CBFF-4713-87C0-AD6BE2A5C911}" type="presOf" srcId="{91C873E0-A9EE-40B3-92F8-DAD4175CE161}" destId="{24668232-E705-4DBA-96DD-50A0AFAE0DCD}" srcOrd="0" destOrd="0" presId="urn:microsoft.com/office/officeart/2005/8/layout/default"/>
    <dgm:cxn modelId="{C3BB2F49-04FB-4DFC-A32E-8205EC9F7F49}" srcId="{E51F8B8C-A3D8-4977-A350-4E02D69C287C}" destId="{22A42BE8-7438-4A9B-A7E0-B72558A38491}" srcOrd="22" destOrd="0" parTransId="{6722B567-6524-4BA8-94F7-EB5B741F5EAD}" sibTransId="{9DAFF58E-3851-4800-8F45-81CEC0DAF142}"/>
    <dgm:cxn modelId="{91CFCB64-63D0-45A8-BAE6-05821D45E23F}" type="presOf" srcId="{7B4AE96E-DB89-4A04-9CEA-192FE29C7A6C}" destId="{7C2178F5-90E9-4F22-B5E8-41C24685EC1B}" srcOrd="0" destOrd="0" presId="urn:microsoft.com/office/officeart/2005/8/layout/default"/>
    <dgm:cxn modelId="{F9DFB060-5F53-4579-AFD4-AE645AB5A98B}" type="presOf" srcId="{3890DDA5-49A9-439F-86DD-AF59C5BF2926}" destId="{891CBF20-3E4B-4FB4-9DA7-8F3AE5F50CBC}" srcOrd="0" destOrd="0" presId="urn:microsoft.com/office/officeart/2005/8/layout/default"/>
    <dgm:cxn modelId="{8FA953BD-41C0-4094-990F-352AFAC2A1AA}" type="presOf" srcId="{625E3234-AD4D-42FD-BE2C-12198368B588}" destId="{255627A4-EDA2-4D4D-A467-2BA799157B1B}" srcOrd="0" destOrd="0" presId="urn:microsoft.com/office/officeart/2005/8/layout/default"/>
    <dgm:cxn modelId="{D485C42E-3AA9-4804-BC27-48385436F311}" type="presOf" srcId="{39844BB4-26A0-4E96-8820-74D44B1F37AE}" destId="{2261CCFE-A284-4272-8407-343CA4BE394C}" srcOrd="0" destOrd="0" presId="urn:microsoft.com/office/officeart/2005/8/layout/default"/>
    <dgm:cxn modelId="{E064AA20-8C0F-4337-9163-4E1F523C02C2}" srcId="{E51F8B8C-A3D8-4977-A350-4E02D69C287C}" destId="{3553E458-D299-411E-A63C-6F20815D3C91}" srcOrd="43" destOrd="0" parTransId="{843D4361-5FD1-42DB-93F7-B5E31A7A832A}" sibTransId="{6B6C23E7-AE9F-4756-AE7B-2F4681D3A8DF}"/>
    <dgm:cxn modelId="{E9B64A39-E77D-47D1-940B-10A624D84A9C}" srcId="{E51F8B8C-A3D8-4977-A350-4E02D69C287C}" destId="{519B512B-B661-4F8B-91E7-8B4D2AC8E2E3}" srcOrd="71" destOrd="0" parTransId="{19A23C74-F1EC-4B89-9C75-404759CB42E7}" sibTransId="{538EB323-37EE-4EA9-A268-E3B713985054}"/>
    <dgm:cxn modelId="{F2C46ED8-D9C8-4C45-A3B4-93CBB43E494E}" srcId="{E51F8B8C-A3D8-4977-A350-4E02D69C287C}" destId="{BF94A371-09BE-409F-BC38-311CBDA33629}" srcOrd="47" destOrd="0" parTransId="{E96D9C0D-B0FE-4778-9A82-43E460C69985}" sibTransId="{7D0F9B3C-2A91-4F70-A3A8-5639BA68FEF4}"/>
    <dgm:cxn modelId="{9F8D540D-B966-4578-9EBC-539484D3C8E3}" type="presOf" srcId="{E38AA861-121C-49BD-B16D-A42B78D39EC8}" destId="{04D6F666-D0A9-4B9C-8F07-F9FE3A3325C0}" srcOrd="0" destOrd="0" presId="urn:microsoft.com/office/officeart/2005/8/layout/default"/>
    <dgm:cxn modelId="{B81686C0-4964-4438-9AB6-7D51CB473AE8}" type="presOf" srcId="{9B58C2BB-F034-42B5-AD87-7957707FEAAA}" destId="{28E8893B-F9B9-4275-B47D-A8D8F422C92E}" srcOrd="0" destOrd="0" presId="urn:microsoft.com/office/officeart/2005/8/layout/default"/>
    <dgm:cxn modelId="{8BABD505-E925-4C12-BBDF-731876EE63A9}" type="presOf" srcId="{63DB9807-C6EF-4934-8E62-334805CBF9BD}" destId="{EC05B19E-D5F7-47FD-9C72-7E7FD38040E5}" srcOrd="0" destOrd="0" presId="urn:microsoft.com/office/officeart/2005/8/layout/default"/>
    <dgm:cxn modelId="{7190FF90-2498-4CB6-9606-18E71FDA75A7}" srcId="{E51F8B8C-A3D8-4977-A350-4E02D69C287C}" destId="{CCBCF97E-DDE5-495B-81F3-04F2A9BB7499}" srcOrd="19" destOrd="0" parTransId="{65C30689-FFCF-4DA6-84AC-D7E25568AC19}" sibTransId="{E48D4A9A-1BEF-43F1-9A83-FF761CDA038F}"/>
    <dgm:cxn modelId="{8AEBF37E-AD7D-448E-9778-31FCA893E4ED}" srcId="{E51F8B8C-A3D8-4977-A350-4E02D69C287C}" destId="{38E4493E-977E-48BA-9880-16D973798E09}" srcOrd="81" destOrd="0" parTransId="{23043B59-E3B3-4101-9E4A-6DF196DDE280}" sibTransId="{334C5F03-E46E-45ED-87EA-A960B966FC50}"/>
    <dgm:cxn modelId="{D645E8C0-5D01-4C1F-8EA0-C48D197B6992}" srcId="{E51F8B8C-A3D8-4977-A350-4E02D69C287C}" destId="{226AD4BF-2632-4311-BD2B-575F66F0C36B}" srcOrd="54" destOrd="0" parTransId="{4A6A9F57-F0B3-47FE-8CED-E844DD1939CC}" sibTransId="{463620D3-87FE-4227-B40F-374D756C0219}"/>
    <dgm:cxn modelId="{FF2F9CF6-10CF-4E9B-BD95-F955EE04CE2F}" type="presOf" srcId="{BF422F5D-5882-40E5-A4DF-44977289577D}" destId="{CCDA8EE7-AFDD-4DA4-8F16-6F99816972CC}" srcOrd="0" destOrd="0" presId="urn:microsoft.com/office/officeart/2005/8/layout/default"/>
    <dgm:cxn modelId="{137CC46F-A51F-4CB1-AFE9-3C3C7B990922}" srcId="{E51F8B8C-A3D8-4977-A350-4E02D69C287C}" destId="{63DB9807-C6EF-4934-8E62-334805CBF9BD}" srcOrd="7" destOrd="0" parTransId="{6FFFC627-F722-42FA-9FCF-C1AD3AE95EBD}" sibTransId="{98FDF8B4-527D-4CD1-9FD7-3148CB74314A}"/>
    <dgm:cxn modelId="{B05E41CD-4C2E-44D0-B764-DFE2CEC743B7}" type="presOf" srcId="{8ED41998-1ACD-46D1-86FD-E4D82F2C7301}" destId="{3269CE9E-EFD2-43B0-B32F-7EB53A69DB26}" srcOrd="0" destOrd="0" presId="urn:microsoft.com/office/officeart/2005/8/layout/default"/>
    <dgm:cxn modelId="{318DE831-EC6A-43C9-9917-32EB3D001183}" srcId="{E51F8B8C-A3D8-4977-A350-4E02D69C287C}" destId="{198C268D-719F-421C-80E1-49685B02AE00}" srcOrd="14" destOrd="0" parTransId="{829F3212-D2D9-4665-A6B8-91C1E45C5655}" sibTransId="{E8E7F80E-1235-44AF-857C-D290F1F9EBA1}"/>
    <dgm:cxn modelId="{962B622C-64E8-4F8D-92FE-7B4A91087067}" type="presOf" srcId="{44FB6304-D074-45C8-96F3-EEB0FDB3314D}" destId="{6F46BD43-3DBA-4FAC-A7AC-EF0AF486C53E}" srcOrd="0" destOrd="0" presId="urn:microsoft.com/office/officeart/2005/8/layout/default"/>
    <dgm:cxn modelId="{469FCE85-593D-4959-A024-6D425646D7FD}" type="presOf" srcId="{A16B67F4-D8CB-4B73-AC03-B72B9BABFF47}" destId="{B0E95EF1-21FE-4D47-B7FC-1DD2D413A441}" srcOrd="0" destOrd="0" presId="urn:microsoft.com/office/officeart/2005/8/layout/default"/>
    <dgm:cxn modelId="{18FC2D82-455D-4494-8307-26C113D06379}" srcId="{E51F8B8C-A3D8-4977-A350-4E02D69C287C}" destId="{B9D7CF7C-2D92-4EC2-9B76-713DB2B945FF}" srcOrd="6" destOrd="0" parTransId="{7A4BF25D-7831-48ED-A60C-6D6DB1BA62E1}" sibTransId="{72EB29DA-0D1F-48E1-B046-3355C1B040FA}"/>
    <dgm:cxn modelId="{A6D9B011-66C6-46CC-BD3F-9D3386215252}" srcId="{E51F8B8C-A3D8-4977-A350-4E02D69C287C}" destId="{3725493E-F488-4DFA-A925-5A1898C106CA}" srcOrd="42" destOrd="0" parTransId="{C2DA0F91-0F37-4F3C-AFF3-F5F54150B217}" sibTransId="{93663340-3F83-444D-9B73-EC5B57D67831}"/>
    <dgm:cxn modelId="{02E8B327-7DF8-46E4-B25C-493AB73C0E20}" srcId="{E51F8B8C-A3D8-4977-A350-4E02D69C287C}" destId="{625E3234-AD4D-42FD-BE2C-12198368B588}" srcOrd="37" destOrd="0" parTransId="{74B36D84-F3E8-4342-AC18-B4816AEA418A}" sibTransId="{A05618BB-60E9-4013-98CB-502836DAE110}"/>
    <dgm:cxn modelId="{B1E40DDB-4BF6-47F5-9816-02CDC21ACEA2}" type="presOf" srcId="{7E19CDF2-1895-4AFC-906F-C1FF6455B5C8}" destId="{9603DF31-ADB8-4CDA-9DD7-6A504A80492C}" srcOrd="0" destOrd="0" presId="urn:microsoft.com/office/officeart/2005/8/layout/default"/>
    <dgm:cxn modelId="{2A8C46A3-33B8-489B-AB46-91679585B96A}" type="presOf" srcId="{FBE424FD-DA1E-44D5-BC96-39E3D4AEA654}" destId="{5C4A7C30-28E5-4543-A123-AD3F64FA5332}" srcOrd="0" destOrd="0" presId="urn:microsoft.com/office/officeart/2005/8/layout/default"/>
    <dgm:cxn modelId="{E9865F92-BCA7-409D-837F-13A6CED248F3}" type="presOf" srcId="{226AD4BF-2632-4311-BD2B-575F66F0C36B}" destId="{58083885-4732-4575-B53E-26B955EFEDDA}" srcOrd="0" destOrd="0" presId="urn:microsoft.com/office/officeart/2005/8/layout/default"/>
    <dgm:cxn modelId="{AC93EE49-5D7F-43AE-A683-AE2A06B4F026}" srcId="{E51F8B8C-A3D8-4977-A350-4E02D69C287C}" destId="{94CA459E-1D2F-4E2C-8A9E-4FFEE886D33A}" srcOrd="24" destOrd="0" parTransId="{3A93510C-5248-4DCF-BE2B-AFA2F01034EA}" sibTransId="{D527668D-AF48-4E89-B5DF-EAC42D2BB6A4}"/>
    <dgm:cxn modelId="{687E1CE2-E4E8-4505-98AD-21D6E73D333A}" srcId="{E51F8B8C-A3D8-4977-A350-4E02D69C287C}" destId="{B3A3F6EE-4920-4A95-85FE-F2F2E4A36342}" srcOrd="30" destOrd="0" parTransId="{CF9BBD6E-9A9E-45DC-8646-58B75ECE0BE4}" sibTransId="{D566F11F-B5D5-4BB9-937E-E4498FD73420}"/>
    <dgm:cxn modelId="{E10610F1-9A7D-4CAB-9D2A-459E49135A3E}" srcId="{E51F8B8C-A3D8-4977-A350-4E02D69C287C}" destId="{F6A47A5E-6173-49EA-A7C9-BC862F24D844}" srcOrd="45" destOrd="0" parTransId="{E7BE46D1-CA56-411E-83E0-3DF233165E7D}" sibTransId="{5537FF61-B60D-46C8-AF44-8E39C32EB665}"/>
    <dgm:cxn modelId="{8F8D34F1-0582-4B90-8165-4AAD6C124BDC}" srcId="{E51F8B8C-A3D8-4977-A350-4E02D69C287C}" destId="{CDC78790-F414-438F-997E-C4537A981398}" srcOrd="2" destOrd="0" parTransId="{FAE100E7-391D-4F1A-A6C2-B85A80A08EBF}" sibTransId="{E18CAACC-A526-4F19-855E-69B4B19A64AF}"/>
    <dgm:cxn modelId="{BBDA9E7A-5CC7-4155-A9F7-E217C42F7CDD}" srcId="{E51F8B8C-A3D8-4977-A350-4E02D69C287C}" destId="{BF422F5D-5882-40E5-A4DF-44977289577D}" srcOrd="60" destOrd="0" parTransId="{41509CBD-F941-40A2-859C-92B301B8758C}" sibTransId="{8B91CBCF-00AF-48DF-AB62-A9494768A41B}"/>
    <dgm:cxn modelId="{6DAF7815-3F89-42EA-AA7C-E8221C21F31A}" type="presOf" srcId="{97F5D796-2A94-4280-AAE8-90CBD101C9D9}" destId="{CAF53750-8D6D-40C8-B8F1-B110105DC818}" srcOrd="0" destOrd="0" presId="urn:microsoft.com/office/officeart/2005/8/layout/default"/>
    <dgm:cxn modelId="{58E11535-0D28-46F2-AC10-65E48ACB38CD}" type="presOf" srcId="{482BC277-2AA7-4C1F-B463-91950744E23B}" destId="{93E9756A-50BF-457C-9075-870B0AEE5D62}" srcOrd="0" destOrd="0" presId="urn:microsoft.com/office/officeart/2005/8/layout/default"/>
    <dgm:cxn modelId="{85EC2452-52D4-4CC7-BD25-073A235D2465}" srcId="{E51F8B8C-A3D8-4977-A350-4E02D69C287C}" destId="{FBE424FD-DA1E-44D5-BC96-39E3D4AEA654}" srcOrd="61" destOrd="0" parTransId="{495BE8D9-B93D-4620-BBE8-8EDB3F9CAE5B}" sibTransId="{AFB85D75-A480-4A00-B4FC-C58AB9B2F914}"/>
    <dgm:cxn modelId="{765DB587-5B0E-4E7D-970E-A1CAB005AF25}" type="presOf" srcId="{7178E1CA-22D3-406D-8D6D-A3BD6EEC78C3}" destId="{75B7379C-AB87-4014-B9F9-4866F54E9B5C}" srcOrd="0" destOrd="0" presId="urn:microsoft.com/office/officeart/2005/8/layout/default"/>
    <dgm:cxn modelId="{E3604206-EDDE-4780-9E80-6D5888F9D837}" srcId="{E51F8B8C-A3D8-4977-A350-4E02D69C287C}" destId="{7178E1CA-22D3-406D-8D6D-A3BD6EEC78C3}" srcOrd="53" destOrd="0" parTransId="{42C1FF29-304D-4C84-AFC0-56A514D17C77}" sibTransId="{FE3F1B82-6D2E-4D8D-BDD6-1B5CAEF6F2E1}"/>
    <dgm:cxn modelId="{AF064326-6CE4-4204-8056-6402CDEAEB66}" type="presOf" srcId="{BD7A1EB1-B5EC-4293-812B-B2910231BBC9}" destId="{FAEDC185-DCFF-4DE9-94F6-3E3762D8C482}" srcOrd="0" destOrd="0" presId="urn:microsoft.com/office/officeart/2005/8/layout/default"/>
    <dgm:cxn modelId="{B951ED53-2D25-4BDF-9183-33FD59F9E6D6}" srcId="{E51F8B8C-A3D8-4977-A350-4E02D69C287C}" destId="{8290479F-AD58-49D4-8C54-7993E5FD08B1}" srcOrd="41" destOrd="0" parTransId="{7FD52B6A-9737-4C58-91F7-D9B695E82F16}" sibTransId="{D99AA620-0360-4A23-BF5F-D3E6103AEA24}"/>
    <dgm:cxn modelId="{8B3C9A3B-DC85-40D2-ADEB-D2D8E1163114}" srcId="{E51F8B8C-A3D8-4977-A350-4E02D69C287C}" destId="{A525AB44-42B3-41E7-95FE-C47C6FAEACC4}" srcOrd="77" destOrd="0" parTransId="{81AEB343-1C29-4BAB-9B59-C712A5EE2B73}" sibTransId="{43C79AA7-E788-40BC-B61E-71D310041380}"/>
    <dgm:cxn modelId="{25034956-21B1-486B-902C-691B8750DB5C}" type="presOf" srcId="{B3A3F6EE-4920-4A95-85FE-F2F2E4A36342}" destId="{804BF373-3C78-4BC5-9E76-B0986F9701E6}" srcOrd="0" destOrd="0" presId="urn:microsoft.com/office/officeart/2005/8/layout/default"/>
    <dgm:cxn modelId="{D101C1B1-0F84-4D01-9674-DC13699594DA}" srcId="{E51F8B8C-A3D8-4977-A350-4E02D69C287C}" destId="{0979DD26-C84D-4DAC-9C1C-689DA3AB6B8F}" srcOrd="73" destOrd="0" parTransId="{469154FA-E192-40C9-B200-FF5E1DB42542}" sibTransId="{7CB40187-4C62-4714-A4CB-61CB6577EE13}"/>
    <dgm:cxn modelId="{907A60C0-1F71-43FB-92D8-D3339FC7B0CE}" srcId="{E51F8B8C-A3D8-4977-A350-4E02D69C287C}" destId="{5614636C-EA1D-4C2C-9C7B-247288FA2F97}" srcOrd="70" destOrd="0" parTransId="{085CEA83-6DE5-432B-A935-C5B52D755F19}" sibTransId="{3537C7D2-90CB-4DD2-BDD5-9F578678F278}"/>
    <dgm:cxn modelId="{C46B3254-FC5A-4D4E-B584-5BCB8CC2576A}" srcId="{E51F8B8C-A3D8-4977-A350-4E02D69C287C}" destId="{91C873E0-A9EE-40B3-92F8-DAD4175CE161}" srcOrd="26" destOrd="0" parTransId="{AEAB63A5-326B-4A98-BD0C-FBFEA0C46B1B}" sibTransId="{9BC2C6E5-B9F3-4B1F-A526-49F791658D35}"/>
    <dgm:cxn modelId="{0F3DB9B5-207A-4139-A658-3A35CA9E88D2}" type="presOf" srcId="{8426CA96-8593-4143-B509-FF9BBB996820}" destId="{692D1D26-3FC4-4A3B-967F-5FCE58A6D894}" srcOrd="0" destOrd="0" presId="urn:microsoft.com/office/officeart/2005/8/layout/default"/>
    <dgm:cxn modelId="{C105E8D0-AEDC-427B-A47A-56B48F6E1FBE}" srcId="{E51F8B8C-A3D8-4977-A350-4E02D69C287C}" destId="{3C363B2A-DEB3-4587-AF09-5D607D7D7D50}" srcOrd="9" destOrd="0" parTransId="{B47E054E-F38D-4DCC-B48D-53EED894252A}" sibTransId="{CACA709E-D637-4DD6-8A64-6C76A9F17C7D}"/>
    <dgm:cxn modelId="{D2F68C0F-BF81-44C7-AA8A-E590C0CE5D99}" type="presOf" srcId="{B6AED947-3E95-4CCF-824C-188284D13A8C}" destId="{5F0E534D-14C6-4B44-A691-9748D7F04C17}" srcOrd="0" destOrd="0" presId="urn:microsoft.com/office/officeart/2005/8/layout/default"/>
    <dgm:cxn modelId="{2F64385F-8CF3-45D7-AA4B-163DCE9F7529}" type="presOf" srcId="{198C268D-719F-421C-80E1-49685B02AE00}" destId="{99C49034-E7A2-48E0-BD65-DEA4ADB5E017}" srcOrd="0" destOrd="0" presId="urn:microsoft.com/office/officeart/2005/8/layout/default"/>
    <dgm:cxn modelId="{CD4B769F-37C4-4D53-8D73-60C8817723A8}" srcId="{E51F8B8C-A3D8-4977-A350-4E02D69C287C}" destId="{BD7A1EB1-B5EC-4293-812B-B2910231BBC9}" srcOrd="58" destOrd="0" parTransId="{81C315CB-E9C5-4AC3-B8D3-B9850B93605E}" sibTransId="{1CD62C9A-A889-466F-AB2B-1FD10977E45B}"/>
    <dgm:cxn modelId="{7AC8BCE5-F968-4C1B-B2D0-4D6C1661703C}" srcId="{E51F8B8C-A3D8-4977-A350-4E02D69C287C}" destId="{482BC277-2AA7-4C1F-B463-91950744E23B}" srcOrd="17" destOrd="0" parTransId="{C9DD4EF1-13B8-4DC9-BAF7-1091E350C138}" sibTransId="{75672DDC-28DA-4128-98F0-3F799F97F28F}"/>
    <dgm:cxn modelId="{1F96F79A-13EE-47F3-8655-36FDDB1E2DE3}" srcId="{E51F8B8C-A3D8-4977-A350-4E02D69C287C}" destId="{F7BBB654-5F2E-47B9-BAE0-8B4AEB2EA23D}" srcOrd="10" destOrd="0" parTransId="{E341E069-CFA3-47D4-AAE5-D70B28FEED17}" sibTransId="{A4E21139-141C-467C-895E-39F70792C797}"/>
    <dgm:cxn modelId="{72EC072C-8F44-4BE2-9027-5559A3AB5FB7}" type="presOf" srcId="{040FCDC1-DC55-414F-9B14-D03F842CE3EA}" destId="{53CEEE27-3DA6-480B-8313-294681CB03C8}" srcOrd="0" destOrd="0" presId="urn:microsoft.com/office/officeart/2005/8/layout/default"/>
    <dgm:cxn modelId="{5EF0087D-E768-40CD-A7F1-CB7F4F7D67A4}" srcId="{E51F8B8C-A3D8-4977-A350-4E02D69C287C}" destId="{59AC638B-E316-492A-A524-79D81C32F47C}" srcOrd="87" destOrd="0" parTransId="{F4BBFE83-8E95-4DEC-90D9-35D1E19F40D1}" sibTransId="{67CA0629-75F9-47D7-8D56-A27F12AD0EC1}"/>
    <dgm:cxn modelId="{193B8DFE-F4A1-46F3-BEC9-C340DA686E0F}" type="presOf" srcId="{94CA459E-1D2F-4E2C-8A9E-4FFEE886D33A}" destId="{779BADB7-ACBB-4B1B-BA3E-199CAAEE5E4C}" srcOrd="0" destOrd="0" presId="urn:microsoft.com/office/officeart/2005/8/layout/default"/>
    <dgm:cxn modelId="{3D048F38-A50C-485D-AAAF-0EC462897457}" type="presOf" srcId="{698B8BE2-E211-4E6C-9A9D-4D4E6458D805}" destId="{8A8863A0-D74C-4318-8FBB-984319E6EBE2}" srcOrd="0" destOrd="0" presId="urn:microsoft.com/office/officeart/2005/8/layout/default"/>
    <dgm:cxn modelId="{33071E12-2F77-4F77-B242-1793EF6CFD2C}" type="presOf" srcId="{3725493E-F488-4DFA-A925-5A1898C106CA}" destId="{77D7529E-3302-40E1-9807-44BF108E2C4F}" srcOrd="0" destOrd="0" presId="urn:microsoft.com/office/officeart/2005/8/layout/default"/>
    <dgm:cxn modelId="{0839514A-EA20-4747-A2F9-787DAA817729}" type="presOf" srcId="{7A86B29F-C133-4019-A9C0-2F6159A5EBEC}" destId="{208D80A4-DD84-4377-AE14-776FAAE69D90}" srcOrd="0" destOrd="0" presId="urn:microsoft.com/office/officeart/2005/8/layout/default"/>
    <dgm:cxn modelId="{828F795D-BE4D-4504-8EAC-241FD20E6101}" type="presOf" srcId="{38E4493E-977E-48BA-9880-16D973798E09}" destId="{ABE6EA04-F862-4AA3-B6F1-EB9E0C1561CE}" srcOrd="0" destOrd="0" presId="urn:microsoft.com/office/officeart/2005/8/layout/default"/>
    <dgm:cxn modelId="{6BC6C4A7-E69E-4D83-96D6-80DBEE254AB2}" srcId="{E51F8B8C-A3D8-4977-A350-4E02D69C287C}" destId="{9B58C2BB-F034-42B5-AD87-7957707FEAAA}" srcOrd="44" destOrd="0" parTransId="{F346FE76-D6C0-4263-AE3F-37B20142B6D2}" sibTransId="{C8216EA2-DB44-4ACA-BCAA-BD75A85BE5E2}"/>
    <dgm:cxn modelId="{AE6E646A-FBC7-49F3-BEF2-A96E9162B1C1}" type="presOf" srcId="{22A42BE8-7438-4A9B-A7E0-B72558A38491}" destId="{C6188723-5AAD-4D79-B35F-E78EF3CFA288}" srcOrd="0" destOrd="0" presId="urn:microsoft.com/office/officeart/2005/8/layout/default"/>
    <dgm:cxn modelId="{5DF2650E-600E-4F02-B7F7-52BE578323F2}" type="presParOf" srcId="{6D3CBA18-C8AC-4FD5-92DF-D4BF8870C646}" destId="{1C5B911E-C025-4EED-97CF-31E8BD915848}" srcOrd="0" destOrd="0" presId="urn:microsoft.com/office/officeart/2005/8/layout/default"/>
    <dgm:cxn modelId="{14E07DB5-9AAF-455D-9D45-7AD11385F70F}" type="presParOf" srcId="{6D3CBA18-C8AC-4FD5-92DF-D4BF8870C646}" destId="{0D586D02-0C2C-4D7F-8D9E-48F1498BA8A6}" srcOrd="1" destOrd="0" presId="urn:microsoft.com/office/officeart/2005/8/layout/default"/>
    <dgm:cxn modelId="{14A8BAC0-4B33-47C9-B245-0988F8C22911}" type="presParOf" srcId="{6D3CBA18-C8AC-4FD5-92DF-D4BF8870C646}" destId="{8516B6BE-B862-4FB4-BC55-0A46348DB3AC}" srcOrd="2" destOrd="0" presId="urn:microsoft.com/office/officeart/2005/8/layout/default"/>
    <dgm:cxn modelId="{B3B82AAF-246A-4EFF-9923-CBD41F1FF498}" type="presParOf" srcId="{6D3CBA18-C8AC-4FD5-92DF-D4BF8870C646}" destId="{B3AA5BD3-ACCF-4329-BE15-AD0EE238F956}" srcOrd="3" destOrd="0" presId="urn:microsoft.com/office/officeart/2005/8/layout/default"/>
    <dgm:cxn modelId="{FC634DD3-1116-4263-87D1-78605D3ADE3C}" type="presParOf" srcId="{6D3CBA18-C8AC-4FD5-92DF-D4BF8870C646}" destId="{F3E5B544-9B48-47A0-92E7-E2231ABB97AC}" srcOrd="4" destOrd="0" presId="urn:microsoft.com/office/officeart/2005/8/layout/default"/>
    <dgm:cxn modelId="{6FB802C6-815D-41B6-BA54-507C38877E0D}" type="presParOf" srcId="{6D3CBA18-C8AC-4FD5-92DF-D4BF8870C646}" destId="{E5084890-0BDC-4116-BA1E-E81872AC4C65}" srcOrd="5" destOrd="0" presId="urn:microsoft.com/office/officeart/2005/8/layout/default"/>
    <dgm:cxn modelId="{AC1D8271-240C-42A9-AD79-ED270C17DE22}" type="presParOf" srcId="{6D3CBA18-C8AC-4FD5-92DF-D4BF8870C646}" destId="{A643B78D-98FA-457C-8CCB-D9443859B8F3}" srcOrd="6" destOrd="0" presId="urn:microsoft.com/office/officeart/2005/8/layout/default"/>
    <dgm:cxn modelId="{2051AFDC-C6E2-45E4-9A2F-6848DF1ABE26}" type="presParOf" srcId="{6D3CBA18-C8AC-4FD5-92DF-D4BF8870C646}" destId="{DFCBBE7C-9E44-4E18-A790-454745903C92}" srcOrd="7" destOrd="0" presId="urn:microsoft.com/office/officeart/2005/8/layout/default"/>
    <dgm:cxn modelId="{0E372BA0-7DCB-4DC7-B888-B5E2A24EC828}" type="presParOf" srcId="{6D3CBA18-C8AC-4FD5-92DF-D4BF8870C646}" destId="{5EDE6CF7-6918-4244-A4FE-B7BE94F88DCE}" srcOrd="8" destOrd="0" presId="urn:microsoft.com/office/officeart/2005/8/layout/default"/>
    <dgm:cxn modelId="{41787322-4E4D-4F7A-B5FF-8D774DA7C1AF}" type="presParOf" srcId="{6D3CBA18-C8AC-4FD5-92DF-D4BF8870C646}" destId="{556EF296-CC8D-4C32-9E38-3ED90E96C1A7}" srcOrd="9" destOrd="0" presId="urn:microsoft.com/office/officeart/2005/8/layout/default"/>
    <dgm:cxn modelId="{DC8A7786-129B-4691-8790-AEEC35AFA388}" type="presParOf" srcId="{6D3CBA18-C8AC-4FD5-92DF-D4BF8870C646}" destId="{8216FDBA-C7B4-41C8-B41D-BB5B16E47FF7}" srcOrd="10" destOrd="0" presId="urn:microsoft.com/office/officeart/2005/8/layout/default"/>
    <dgm:cxn modelId="{2FAF15ED-95DB-4073-A4DC-629DD5878E0F}" type="presParOf" srcId="{6D3CBA18-C8AC-4FD5-92DF-D4BF8870C646}" destId="{C9BB17FE-3D45-49CD-85FA-8635892556D5}" srcOrd="11" destOrd="0" presId="urn:microsoft.com/office/officeart/2005/8/layout/default"/>
    <dgm:cxn modelId="{773BB070-037A-410B-80E3-03E0E182630A}" type="presParOf" srcId="{6D3CBA18-C8AC-4FD5-92DF-D4BF8870C646}" destId="{9BD52830-9DE9-453C-B3AC-559643F588C7}" srcOrd="12" destOrd="0" presId="urn:microsoft.com/office/officeart/2005/8/layout/default"/>
    <dgm:cxn modelId="{D91FA57A-CEED-406C-BB6A-A0393F4C9AAC}" type="presParOf" srcId="{6D3CBA18-C8AC-4FD5-92DF-D4BF8870C646}" destId="{3505BDCE-7430-4D0C-A6B9-CD3620BCAF06}" srcOrd="13" destOrd="0" presId="urn:microsoft.com/office/officeart/2005/8/layout/default"/>
    <dgm:cxn modelId="{9278E34B-242B-45E3-980C-CA2D7ADBD632}" type="presParOf" srcId="{6D3CBA18-C8AC-4FD5-92DF-D4BF8870C646}" destId="{EC05B19E-D5F7-47FD-9C72-7E7FD38040E5}" srcOrd="14" destOrd="0" presId="urn:microsoft.com/office/officeart/2005/8/layout/default"/>
    <dgm:cxn modelId="{33981877-0BFA-40C0-8D7B-967495003BC5}" type="presParOf" srcId="{6D3CBA18-C8AC-4FD5-92DF-D4BF8870C646}" destId="{1FB04721-213F-4F72-A784-E08E9FFA9D7E}" srcOrd="15" destOrd="0" presId="urn:microsoft.com/office/officeart/2005/8/layout/default"/>
    <dgm:cxn modelId="{72F00189-ED83-45ED-B291-5817211177F6}" type="presParOf" srcId="{6D3CBA18-C8AC-4FD5-92DF-D4BF8870C646}" destId="{692D1D26-3FC4-4A3B-967F-5FCE58A6D894}" srcOrd="16" destOrd="0" presId="urn:microsoft.com/office/officeart/2005/8/layout/default"/>
    <dgm:cxn modelId="{78347397-7C43-4ABF-947C-8D23A597E2EB}" type="presParOf" srcId="{6D3CBA18-C8AC-4FD5-92DF-D4BF8870C646}" destId="{72FB5B51-15D9-4F3D-B218-D42FB5E9FF70}" srcOrd="17" destOrd="0" presId="urn:microsoft.com/office/officeart/2005/8/layout/default"/>
    <dgm:cxn modelId="{6316BFCC-8E76-489D-8E43-9202C2B9EF6F}" type="presParOf" srcId="{6D3CBA18-C8AC-4FD5-92DF-D4BF8870C646}" destId="{E83C9897-1050-4D61-9F9D-DB5320D6890A}" srcOrd="18" destOrd="0" presId="urn:microsoft.com/office/officeart/2005/8/layout/default"/>
    <dgm:cxn modelId="{18E0BA32-3544-4AE0-B104-09EC349ECC3E}" type="presParOf" srcId="{6D3CBA18-C8AC-4FD5-92DF-D4BF8870C646}" destId="{34123B4B-11C6-42C3-9BF3-B1456E24C345}" srcOrd="19" destOrd="0" presId="urn:microsoft.com/office/officeart/2005/8/layout/default"/>
    <dgm:cxn modelId="{ECB9FAFA-3CD7-4739-85F4-834E04D58C9C}" type="presParOf" srcId="{6D3CBA18-C8AC-4FD5-92DF-D4BF8870C646}" destId="{18A0FE2B-319A-4A6E-B726-CC1B62AA3AB8}" srcOrd="20" destOrd="0" presId="urn:microsoft.com/office/officeart/2005/8/layout/default"/>
    <dgm:cxn modelId="{1B0D60DD-C567-44DC-AD1C-173EE4477906}" type="presParOf" srcId="{6D3CBA18-C8AC-4FD5-92DF-D4BF8870C646}" destId="{193E4CB8-5ED6-4BA1-9091-5930A4077799}" srcOrd="21" destOrd="0" presId="urn:microsoft.com/office/officeart/2005/8/layout/default"/>
    <dgm:cxn modelId="{8F8CEB1E-C919-406A-BFAC-FA3CAD77BEBC}" type="presParOf" srcId="{6D3CBA18-C8AC-4FD5-92DF-D4BF8870C646}" destId="{6E3365C0-D433-4FF9-907C-F63B7BBC73F9}" srcOrd="22" destOrd="0" presId="urn:microsoft.com/office/officeart/2005/8/layout/default"/>
    <dgm:cxn modelId="{1239F601-508A-43A8-B78B-B2879D3120F1}" type="presParOf" srcId="{6D3CBA18-C8AC-4FD5-92DF-D4BF8870C646}" destId="{2B5050E6-9C20-41B2-A988-A52CFFD9DF09}" srcOrd="23" destOrd="0" presId="urn:microsoft.com/office/officeart/2005/8/layout/default"/>
    <dgm:cxn modelId="{3355DB19-91FC-45D8-BD60-949BC2EFF773}" type="presParOf" srcId="{6D3CBA18-C8AC-4FD5-92DF-D4BF8870C646}" destId="{AB63E5EF-93F4-423B-B3AE-5B2A1C25A145}" srcOrd="24" destOrd="0" presId="urn:microsoft.com/office/officeart/2005/8/layout/default"/>
    <dgm:cxn modelId="{E70914FF-8F30-48EA-8A37-DCA6DE6DA7F0}" type="presParOf" srcId="{6D3CBA18-C8AC-4FD5-92DF-D4BF8870C646}" destId="{94209F65-8A83-4F41-B684-3C28C51E709B}" srcOrd="25" destOrd="0" presId="urn:microsoft.com/office/officeart/2005/8/layout/default"/>
    <dgm:cxn modelId="{3E95AC44-33AE-4C6F-98E9-1D4C9ACCD8EA}" type="presParOf" srcId="{6D3CBA18-C8AC-4FD5-92DF-D4BF8870C646}" destId="{C59E311E-3AC8-480C-9037-873FD74CD477}" srcOrd="26" destOrd="0" presId="urn:microsoft.com/office/officeart/2005/8/layout/default"/>
    <dgm:cxn modelId="{E0F9CD4A-182A-418B-9894-2996D72F165E}" type="presParOf" srcId="{6D3CBA18-C8AC-4FD5-92DF-D4BF8870C646}" destId="{22226572-F4DF-44B3-8875-DD219916DCFF}" srcOrd="27" destOrd="0" presId="urn:microsoft.com/office/officeart/2005/8/layout/default"/>
    <dgm:cxn modelId="{CC75987E-903F-4F2C-A0EB-900BFD754482}" type="presParOf" srcId="{6D3CBA18-C8AC-4FD5-92DF-D4BF8870C646}" destId="{99C49034-E7A2-48E0-BD65-DEA4ADB5E017}" srcOrd="28" destOrd="0" presId="urn:microsoft.com/office/officeart/2005/8/layout/default"/>
    <dgm:cxn modelId="{BED1EE92-9877-4C5F-8138-68326258B4B9}" type="presParOf" srcId="{6D3CBA18-C8AC-4FD5-92DF-D4BF8870C646}" destId="{0D8E712E-8981-47EC-BF1A-8A3236028ECC}" srcOrd="29" destOrd="0" presId="urn:microsoft.com/office/officeart/2005/8/layout/default"/>
    <dgm:cxn modelId="{048C657D-C74B-4359-B08E-555550455595}" type="presParOf" srcId="{6D3CBA18-C8AC-4FD5-92DF-D4BF8870C646}" destId="{5311DBA8-AFF8-42BD-A1DB-BC57A3F155C1}" srcOrd="30" destOrd="0" presId="urn:microsoft.com/office/officeart/2005/8/layout/default"/>
    <dgm:cxn modelId="{97A28265-A670-41AA-83E3-BF855ED39129}" type="presParOf" srcId="{6D3CBA18-C8AC-4FD5-92DF-D4BF8870C646}" destId="{2062715E-328C-4360-811B-EF2C5987533C}" srcOrd="31" destOrd="0" presId="urn:microsoft.com/office/officeart/2005/8/layout/default"/>
    <dgm:cxn modelId="{AB81BD29-9F23-4150-A25D-BC3A51FA3004}" type="presParOf" srcId="{6D3CBA18-C8AC-4FD5-92DF-D4BF8870C646}" destId="{07CA5CB5-3678-4E57-91D5-FB38023D1D4A}" srcOrd="32" destOrd="0" presId="urn:microsoft.com/office/officeart/2005/8/layout/default"/>
    <dgm:cxn modelId="{EF6617AE-E0BF-4BEA-A223-AAD4F1FA29D2}" type="presParOf" srcId="{6D3CBA18-C8AC-4FD5-92DF-D4BF8870C646}" destId="{875C38A3-4815-42A6-9E3D-0D09C96C4D42}" srcOrd="33" destOrd="0" presId="urn:microsoft.com/office/officeart/2005/8/layout/default"/>
    <dgm:cxn modelId="{321E75D6-4B83-4659-BFD0-EE16201E0FD5}" type="presParOf" srcId="{6D3CBA18-C8AC-4FD5-92DF-D4BF8870C646}" destId="{93E9756A-50BF-457C-9075-870B0AEE5D62}" srcOrd="34" destOrd="0" presId="urn:microsoft.com/office/officeart/2005/8/layout/default"/>
    <dgm:cxn modelId="{E65B7E1A-3782-419B-A957-6025C5A20B17}" type="presParOf" srcId="{6D3CBA18-C8AC-4FD5-92DF-D4BF8870C646}" destId="{AB987EF4-25BE-4402-8142-B85977CC4B7B}" srcOrd="35" destOrd="0" presId="urn:microsoft.com/office/officeart/2005/8/layout/default"/>
    <dgm:cxn modelId="{CFB60352-C424-4C45-8538-C4B021CF7D61}" type="presParOf" srcId="{6D3CBA18-C8AC-4FD5-92DF-D4BF8870C646}" destId="{5F17A991-935B-49EC-8EB8-E1C31C21D400}" srcOrd="36" destOrd="0" presId="urn:microsoft.com/office/officeart/2005/8/layout/default"/>
    <dgm:cxn modelId="{95F71B99-E30D-49F7-B97C-55077873AD59}" type="presParOf" srcId="{6D3CBA18-C8AC-4FD5-92DF-D4BF8870C646}" destId="{9F718DD5-E33D-4872-9986-50368FA8D9C8}" srcOrd="37" destOrd="0" presId="urn:microsoft.com/office/officeart/2005/8/layout/default"/>
    <dgm:cxn modelId="{715C1F93-2169-4AE9-AFEB-8DF8AE06EDC8}" type="presParOf" srcId="{6D3CBA18-C8AC-4FD5-92DF-D4BF8870C646}" destId="{91AB7FB1-9F45-4B4E-9E39-F11F88B5D92C}" srcOrd="38" destOrd="0" presId="urn:microsoft.com/office/officeart/2005/8/layout/default"/>
    <dgm:cxn modelId="{0B359535-E134-46A3-8D04-B99FA349AA57}" type="presParOf" srcId="{6D3CBA18-C8AC-4FD5-92DF-D4BF8870C646}" destId="{D14C04F9-0A55-4AAF-8F1D-6D1D869EA9E4}" srcOrd="39" destOrd="0" presId="urn:microsoft.com/office/officeart/2005/8/layout/default"/>
    <dgm:cxn modelId="{DD238001-95C7-43CD-90A4-CABB582EBBFE}" type="presParOf" srcId="{6D3CBA18-C8AC-4FD5-92DF-D4BF8870C646}" destId="{B8E18320-AD3F-4F62-9E51-4527891CA2EC}" srcOrd="40" destOrd="0" presId="urn:microsoft.com/office/officeart/2005/8/layout/default"/>
    <dgm:cxn modelId="{184CC5D7-3143-4DEA-9462-A11316B66C3B}" type="presParOf" srcId="{6D3CBA18-C8AC-4FD5-92DF-D4BF8870C646}" destId="{0BF006D7-3CD5-40EF-9F20-F39A1FE45076}" srcOrd="41" destOrd="0" presId="urn:microsoft.com/office/officeart/2005/8/layout/default"/>
    <dgm:cxn modelId="{5C2F6E7F-D2D1-4009-A1BB-377446AAFC73}" type="presParOf" srcId="{6D3CBA18-C8AC-4FD5-92DF-D4BF8870C646}" destId="{A121ACD9-B9E6-4B8C-99BA-1E57F0ED35B2}" srcOrd="42" destOrd="0" presId="urn:microsoft.com/office/officeart/2005/8/layout/default"/>
    <dgm:cxn modelId="{86C8D9C6-BA77-4B69-9081-40FD53E249FA}" type="presParOf" srcId="{6D3CBA18-C8AC-4FD5-92DF-D4BF8870C646}" destId="{B6C768E6-EF26-4E5E-B1BD-8502DE30187B}" srcOrd="43" destOrd="0" presId="urn:microsoft.com/office/officeart/2005/8/layout/default"/>
    <dgm:cxn modelId="{7E46A3ED-2500-4177-B575-FE92DDCABFFA}" type="presParOf" srcId="{6D3CBA18-C8AC-4FD5-92DF-D4BF8870C646}" destId="{C6188723-5AAD-4D79-B35F-E78EF3CFA288}" srcOrd="44" destOrd="0" presId="urn:microsoft.com/office/officeart/2005/8/layout/default"/>
    <dgm:cxn modelId="{466E6470-4195-47BF-A667-79BE358D099E}" type="presParOf" srcId="{6D3CBA18-C8AC-4FD5-92DF-D4BF8870C646}" destId="{CECA1267-A8F4-474B-A55C-67484E1C0591}" srcOrd="45" destOrd="0" presId="urn:microsoft.com/office/officeart/2005/8/layout/default"/>
    <dgm:cxn modelId="{043D425C-CD16-4F1E-BECD-5B106BB4A0CE}" type="presParOf" srcId="{6D3CBA18-C8AC-4FD5-92DF-D4BF8870C646}" destId="{6F46BD43-3DBA-4FAC-A7AC-EF0AF486C53E}" srcOrd="46" destOrd="0" presId="urn:microsoft.com/office/officeart/2005/8/layout/default"/>
    <dgm:cxn modelId="{BBB6B07B-ADE8-4366-9260-5079D29019B6}" type="presParOf" srcId="{6D3CBA18-C8AC-4FD5-92DF-D4BF8870C646}" destId="{BC5BB68A-B451-4987-A944-F51B9B0F53FC}" srcOrd="47" destOrd="0" presId="urn:microsoft.com/office/officeart/2005/8/layout/default"/>
    <dgm:cxn modelId="{6DB7A441-14CC-4203-9C9B-EFD042025541}" type="presParOf" srcId="{6D3CBA18-C8AC-4FD5-92DF-D4BF8870C646}" destId="{779BADB7-ACBB-4B1B-BA3E-199CAAEE5E4C}" srcOrd="48" destOrd="0" presId="urn:microsoft.com/office/officeart/2005/8/layout/default"/>
    <dgm:cxn modelId="{93A60384-C578-4C41-BD65-6B3DE0019A60}" type="presParOf" srcId="{6D3CBA18-C8AC-4FD5-92DF-D4BF8870C646}" destId="{F4413DDF-FF9A-419E-B680-E0B89A5EB96A}" srcOrd="49" destOrd="0" presId="urn:microsoft.com/office/officeart/2005/8/layout/default"/>
    <dgm:cxn modelId="{43A479F6-618B-46DA-8493-4DF8DCB98156}" type="presParOf" srcId="{6D3CBA18-C8AC-4FD5-92DF-D4BF8870C646}" destId="{96F85D40-FAD2-4003-806B-A68F49F8613D}" srcOrd="50" destOrd="0" presId="urn:microsoft.com/office/officeart/2005/8/layout/default"/>
    <dgm:cxn modelId="{6774D247-6E0F-4A1B-9212-369B43D9BCDC}" type="presParOf" srcId="{6D3CBA18-C8AC-4FD5-92DF-D4BF8870C646}" destId="{358837D4-469D-4CD6-A4D3-64A63BC66C89}" srcOrd="51" destOrd="0" presId="urn:microsoft.com/office/officeart/2005/8/layout/default"/>
    <dgm:cxn modelId="{9CDF4C57-DB18-4A71-AAFE-BD4BD08F467B}" type="presParOf" srcId="{6D3CBA18-C8AC-4FD5-92DF-D4BF8870C646}" destId="{24668232-E705-4DBA-96DD-50A0AFAE0DCD}" srcOrd="52" destOrd="0" presId="urn:microsoft.com/office/officeart/2005/8/layout/default"/>
    <dgm:cxn modelId="{D172E260-7D78-4F69-9C49-EE7D15A8F744}" type="presParOf" srcId="{6D3CBA18-C8AC-4FD5-92DF-D4BF8870C646}" destId="{85CCDA64-52E1-409F-9FE1-93B3F4F35A8F}" srcOrd="53" destOrd="0" presId="urn:microsoft.com/office/officeart/2005/8/layout/default"/>
    <dgm:cxn modelId="{6980D4D2-2516-469C-833D-4C99A6516800}" type="presParOf" srcId="{6D3CBA18-C8AC-4FD5-92DF-D4BF8870C646}" destId="{68AF84B8-7736-4957-AC76-956F4486D45D}" srcOrd="54" destOrd="0" presId="urn:microsoft.com/office/officeart/2005/8/layout/default"/>
    <dgm:cxn modelId="{CD480909-CF6A-494D-A9C5-59E89DA95C10}" type="presParOf" srcId="{6D3CBA18-C8AC-4FD5-92DF-D4BF8870C646}" destId="{946AFEFE-31FE-405D-8D7A-02EBFC26DC82}" srcOrd="55" destOrd="0" presId="urn:microsoft.com/office/officeart/2005/8/layout/default"/>
    <dgm:cxn modelId="{A282BC61-F2B3-44EF-928B-ABD55917C92C}" type="presParOf" srcId="{6D3CBA18-C8AC-4FD5-92DF-D4BF8870C646}" destId="{7AF23E7A-F6EE-4C99-A5F9-FD696827A42A}" srcOrd="56" destOrd="0" presId="urn:microsoft.com/office/officeart/2005/8/layout/default"/>
    <dgm:cxn modelId="{9C45DE91-9A91-4502-AE6E-4C1383E53459}" type="presParOf" srcId="{6D3CBA18-C8AC-4FD5-92DF-D4BF8870C646}" destId="{F1BE4279-8649-475D-9D75-23DB50D1351A}" srcOrd="57" destOrd="0" presId="urn:microsoft.com/office/officeart/2005/8/layout/default"/>
    <dgm:cxn modelId="{FCE67783-D73A-4015-BE26-24A853193C3B}" type="presParOf" srcId="{6D3CBA18-C8AC-4FD5-92DF-D4BF8870C646}" destId="{D6017FAB-2C9B-4615-B991-D6FB6A7C4A07}" srcOrd="58" destOrd="0" presId="urn:microsoft.com/office/officeart/2005/8/layout/default"/>
    <dgm:cxn modelId="{87D6FEFC-EAEB-461A-9D13-AD84A5977B65}" type="presParOf" srcId="{6D3CBA18-C8AC-4FD5-92DF-D4BF8870C646}" destId="{792ADCF8-CE04-41DD-9952-E4267046EB10}" srcOrd="59" destOrd="0" presId="urn:microsoft.com/office/officeart/2005/8/layout/default"/>
    <dgm:cxn modelId="{659AC0B0-ADBC-43E8-9B82-5F7F6E552786}" type="presParOf" srcId="{6D3CBA18-C8AC-4FD5-92DF-D4BF8870C646}" destId="{804BF373-3C78-4BC5-9E76-B0986F9701E6}" srcOrd="60" destOrd="0" presId="urn:microsoft.com/office/officeart/2005/8/layout/default"/>
    <dgm:cxn modelId="{55ED00CE-87B4-4A6C-8CD7-E9D89524570C}" type="presParOf" srcId="{6D3CBA18-C8AC-4FD5-92DF-D4BF8870C646}" destId="{8BB51C22-BC19-4712-A4D4-C95BC4E480C5}" srcOrd="61" destOrd="0" presId="urn:microsoft.com/office/officeart/2005/8/layout/default"/>
    <dgm:cxn modelId="{953B13B1-52ED-4215-8BC3-2AFC01D327BC}" type="presParOf" srcId="{6D3CBA18-C8AC-4FD5-92DF-D4BF8870C646}" destId="{BAB27F6B-5B2B-4812-A6C6-7CB33B67628E}" srcOrd="62" destOrd="0" presId="urn:microsoft.com/office/officeart/2005/8/layout/default"/>
    <dgm:cxn modelId="{D387472A-E0B5-4AD0-B2BD-8A58CB688706}" type="presParOf" srcId="{6D3CBA18-C8AC-4FD5-92DF-D4BF8870C646}" destId="{B38D9349-AAC9-4EBE-96C0-387588C295C5}" srcOrd="63" destOrd="0" presId="urn:microsoft.com/office/officeart/2005/8/layout/default"/>
    <dgm:cxn modelId="{1187A157-DBE2-4296-AB29-465036E2511F}" type="presParOf" srcId="{6D3CBA18-C8AC-4FD5-92DF-D4BF8870C646}" destId="{E137E5AF-5AFF-4025-A64A-1BA589780711}" srcOrd="64" destOrd="0" presId="urn:microsoft.com/office/officeart/2005/8/layout/default"/>
    <dgm:cxn modelId="{81B207E0-76FD-4363-9699-CFD9F262094A}" type="presParOf" srcId="{6D3CBA18-C8AC-4FD5-92DF-D4BF8870C646}" destId="{7C08943A-C36C-42CA-8E02-EAC7C885D5DB}" srcOrd="65" destOrd="0" presId="urn:microsoft.com/office/officeart/2005/8/layout/default"/>
    <dgm:cxn modelId="{17EBEEE7-D206-49C5-BAA5-CFA320DA3367}" type="presParOf" srcId="{6D3CBA18-C8AC-4FD5-92DF-D4BF8870C646}" destId="{A0B49FD6-020E-4BF3-B56C-5D6C9DE79766}" srcOrd="66" destOrd="0" presId="urn:microsoft.com/office/officeart/2005/8/layout/default"/>
    <dgm:cxn modelId="{BDE04F58-35F3-4491-9E63-15D3B93EE834}" type="presParOf" srcId="{6D3CBA18-C8AC-4FD5-92DF-D4BF8870C646}" destId="{D21F34D9-F197-4D68-800D-CC42F50C6228}" srcOrd="67" destOrd="0" presId="urn:microsoft.com/office/officeart/2005/8/layout/default"/>
    <dgm:cxn modelId="{C38C55B7-7DBC-4C51-88E9-7F00B17819F7}" type="presParOf" srcId="{6D3CBA18-C8AC-4FD5-92DF-D4BF8870C646}" destId="{519C650D-3E97-401F-9D3D-6AEDD1E2CE62}" srcOrd="68" destOrd="0" presId="urn:microsoft.com/office/officeart/2005/8/layout/default"/>
    <dgm:cxn modelId="{4EB7CD7F-6EE6-4003-A214-83E86160C784}" type="presParOf" srcId="{6D3CBA18-C8AC-4FD5-92DF-D4BF8870C646}" destId="{5D0D3F0B-68AB-4DE4-886F-57FD316C3C7D}" srcOrd="69" destOrd="0" presId="urn:microsoft.com/office/officeart/2005/8/layout/default"/>
    <dgm:cxn modelId="{4A60AA83-50F8-43D5-99AD-22FF22EA1B90}" type="presParOf" srcId="{6D3CBA18-C8AC-4FD5-92DF-D4BF8870C646}" destId="{C2F58A17-C76C-4D0C-ADFA-D1DC783DC624}" srcOrd="70" destOrd="0" presId="urn:microsoft.com/office/officeart/2005/8/layout/default"/>
    <dgm:cxn modelId="{B81E4338-36DC-4F4B-9626-5DF9DBE2240B}" type="presParOf" srcId="{6D3CBA18-C8AC-4FD5-92DF-D4BF8870C646}" destId="{5E1460A5-64A8-4F27-AD33-0B71FDCEF96B}" srcOrd="71" destOrd="0" presId="urn:microsoft.com/office/officeart/2005/8/layout/default"/>
    <dgm:cxn modelId="{141DCC00-4DC4-4D00-A7D4-6606EF8D90D5}" type="presParOf" srcId="{6D3CBA18-C8AC-4FD5-92DF-D4BF8870C646}" destId="{93578731-42D6-4736-A10B-C3A51B505782}" srcOrd="72" destOrd="0" presId="urn:microsoft.com/office/officeart/2005/8/layout/default"/>
    <dgm:cxn modelId="{4275150D-19DD-4221-B10A-F1CFB94B304F}" type="presParOf" srcId="{6D3CBA18-C8AC-4FD5-92DF-D4BF8870C646}" destId="{6786A5F4-5A26-44C7-806B-7CAC3A62317D}" srcOrd="73" destOrd="0" presId="urn:microsoft.com/office/officeart/2005/8/layout/default"/>
    <dgm:cxn modelId="{6CCA1851-7D7B-4575-B1A0-79F91CDD8B10}" type="presParOf" srcId="{6D3CBA18-C8AC-4FD5-92DF-D4BF8870C646}" destId="{255627A4-EDA2-4D4D-A467-2BA799157B1B}" srcOrd="74" destOrd="0" presId="urn:microsoft.com/office/officeart/2005/8/layout/default"/>
    <dgm:cxn modelId="{F733B58B-242A-4EA8-B991-C1EA60C3D357}" type="presParOf" srcId="{6D3CBA18-C8AC-4FD5-92DF-D4BF8870C646}" destId="{6DBE989E-B554-4D1E-B436-F6FFE05A717D}" srcOrd="75" destOrd="0" presId="urn:microsoft.com/office/officeart/2005/8/layout/default"/>
    <dgm:cxn modelId="{298159BB-054E-441F-86E4-39677E213B6A}" type="presParOf" srcId="{6D3CBA18-C8AC-4FD5-92DF-D4BF8870C646}" destId="{3F36FE41-6C84-4630-B10B-677FB06D0B7A}" srcOrd="76" destOrd="0" presId="urn:microsoft.com/office/officeart/2005/8/layout/default"/>
    <dgm:cxn modelId="{C3E5970C-6F58-4A96-993D-6F0498BD35A1}" type="presParOf" srcId="{6D3CBA18-C8AC-4FD5-92DF-D4BF8870C646}" destId="{6AB1F9D0-8E50-4A55-8E89-43EA683A6FB7}" srcOrd="77" destOrd="0" presId="urn:microsoft.com/office/officeart/2005/8/layout/default"/>
    <dgm:cxn modelId="{21BA38A8-CEC2-4F8D-993D-3332AC0E527D}" type="presParOf" srcId="{6D3CBA18-C8AC-4FD5-92DF-D4BF8870C646}" destId="{002CD0FE-0177-4089-A9E4-409FE1738210}" srcOrd="78" destOrd="0" presId="urn:microsoft.com/office/officeart/2005/8/layout/default"/>
    <dgm:cxn modelId="{73CFD64D-66FA-4DB5-B332-43EBEE57EF2F}" type="presParOf" srcId="{6D3CBA18-C8AC-4FD5-92DF-D4BF8870C646}" destId="{A4382FEB-81D7-480C-BC3D-E81A1B25AD99}" srcOrd="79" destOrd="0" presId="urn:microsoft.com/office/officeart/2005/8/layout/default"/>
    <dgm:cxn modelId="{9D8370DD-8026-40FF-A525-0D0DB4F7F8A1}" type="presParOf" srcId="{6D3CBA18-C8AC-4FD5-92DF-D4BF8870C646}" destId="{902A21AC-34E1-45DE-BE41-E2BA06AD006A}" srcOrd="80" destOrd="0" presId="urn:microsoft.com/office/officeart/2005/8/layout/default"/>
    <dgm:cxn modelId="{DA9F46DF-5FBC-4C8D-B7AC-B3E2B08FF263}" type="presParOf" srcId="{6D3CBA18-C8AC-4FD5-92DF-D4BF8870C646}" destId="{6DB1DF51-708D-4CBB-8B4A-05F385E2CAF6}" srcOrd="81" destOrd="0" presId="urn:microsoft.com/office/officeart/2005/8/layout/default"/>
    <dgm:cxn modelId="{A76F72C8-458D-4C9B-AF11-B3E1B77E3FCF}" type="presParOf" srcId="{6D3CBA18-C8AC-4FD5-92DF-D4BF8870C646}" destId="{92426E81-0C41-432F-B0A2-6096EBCF8A79}" srcOrd="82" destOrd="0" presId="urn:microsoft.com/office/officeart/2005/8/layout/default"/>
    <dgm:cxn modelId="{8FEAC0A1-6439-45C7-BE93-BD3EA590CBBB}" type="presParOf" srcId="{6D3CBA18-C8AC-4FD5-92DF-D4BF8870C646}" destId="{0987A3BF-871C-4530-892D-58228D3C3EC4}" srcOrd="83" destOrd="0" presId="urn:microsoft.com/office/officeart/2005/8/layout/default"/>
    <dgm:cxn modelId="{4EDEA092-4A95-4C1E-8896-49F9191B6DCF}" type="presParOf" srcId="{6D3CBA18-C8AC-4FD5-92DF-D4BF8870C646}" destId="{77D7529E-3302-40E1-9807-44BF108E2C4F}" srcOrd="84" destOrd="0" presId="urn:microsoft.com/office/officeart/2005/8/layout/default"/>
    <dgm:cxn modelId="{5D743661-8B2F-4837-9F12-2D0E23766C70}" type="presParOf" srcId="{6D3CBA18-C8AC-4FD5-92DF-D4BF8870C646}" destId="{233E5FB8-8CC5-4F32-8B17-3D1D3C3CFC30}" srcOrd="85" destOrd="0" presId="urn:microsoft.com/office/officeart/2005/8/layout/default"/>
    <dgm:cxn modelId="{98C69C83-8238-46F9-AD74-B5486CDD426A}" type="presParOf" srcId="{6D3CBA18-C8AC-4FD5-92DF-D4BF8870C646}" destId="{EE0FD172-3BE1-4E3A-8782-ABFDE7250B5A}" srcOrd="86" destOrd="0" presId="urn:microsoft.com/office/officeart/2005/8/layout/default"/>
    <dgm:cxn modelId="{02C78255-67B2-4670-B839-0835532FAFA6}" type="presParOf" srcId="{6D3CBA18-C8AC-4FD5-92DF-D4BF8870C646}" destId="{02F963D8-32EF-47A5-8FB2-8C9592AE6E9E}" srcOrd="87" destOrd="0" presId="urn:microsoft.com/office/officeart/2005/8/layout/default"/>
    <dgm:cxn modelId="{3512B8A2-FF67-41DC-8E4F-4F094DA1BDA2}" type="presParOf" srcId="{6D3CBA18-C8AC-4FD5-92DF-D4BF8870C646}" destId="{28E8893B-F9B9-4275-B47D-A8D8F422C92E}" srcOrd="88" destOrd="0" presId="urn:microsoft.com/office/officeart/2005/8/layout/default"/>
    <dgm:cxn modelId="{FEFCF88B-5E87-4AE7-8C0C-BBD6B4DE539B}" type="presParOf" srcId="{6D3CBA18-C8AC-4FD5-92DF-D4BF8870C646}" destId="{8E88A6BF-C741-4A56-9270-5AEFE37FE3D3}" srcOrd="89" destOrd="0" presId="urn:microsoft.com/office/officeart/2005/8/layout/default"/>
    <dgm:cxn modelId="{2DACD0E3-FDF1-4112-999E-4FFC88E1DBCB}" type="presParOf" srcId="{6D3CBA18-C8AC-4FD5-92DF-D4BF8870C646}" destId="{05455A62-2898-4F96-B0BA-9A872DE8DDC6}" srcOrd="90" destOrd="0" presId="urn:microsoft.com/office/officeart/2005/8/layout/default"/>
    <dgm:cxn modelId="{E50DF28F-4043-41D4-AF9A-82C3A1C245F8}" type="presParOf" srcId="{6D3CBA18-C8AC-4FD5-92DF-D4BF8870C646}" destId="{3D3271F6-6CC1-4477-A122-8EAF6EFD0366}" srcOrd="91" destOrd="0" presId="urn:microsoft.com/office/officeart/2005/8/layout/default"/>
    <dgm:cxn modelId="{6C222442-BCC8-4A2D-9911-0AEE3E0993F0}" type="presParOf" srcId="{6D3CBA18-C8AC-4FD5-92DF-D4BF8870C646}" destId="{2261CCFE-A284-4272-8407-343CA4BE394C}" srcOrd="92" destOrd="0" presId="urn:microsoft.com/office/officeart/2005/8/layout/default"/>
    <dgm:cxn modelId="{A67A2AB5-86DF-4731-8D48-41B8D23C8C83}" type="presParOf" srcId="{6D3CBA18-C8AC-4FD5-92DF-D4BF8870C646}" destId="{3E1598F0-2B0B-4AEC-AA2D-68402797695D}" srcOrd="93" destOrd="0" presId="urn:microsoft.com/office/officeart/2005/8/layout/default"/>
    <dgm:cxn modelId="{1250EE04-1FF6-4B27-9C52-89AE9871BDD9}" type="presParOf" srcId="{6D3CBA18-C8AC-4FD5-92DF-D4BF8870C646}" destId="{8B6CEF29-EF58-464D-9117-DC442F09A51C}" srcOrd="94" destOrd="0" presId="urn:microsoft.com/office/officeart/2005/8/layout/default"/>
    <dgm:cxn modelId="{D26163F3-F2C5-4D19-A7E3-810011D67D0A}" type="presParOf" srcId="{6D3CBA18-C8AC-4FD5-92DF-D4BF8870C646}" destId="{FCF6598B-14A4-4131-9047-E78C4420D1C0}" srcOrd="95" destOrd="0" presId="urn:microsoft.com/office/officeart/2005/8/layout/default"/>
    <dgm:cxn modelId="{63742B22-B4E4-4227-84B3-659253EFBEEF}" type="presParOf" srcId="{6D3CBA18-C8AC-4FD5-92DF-D4BF8870C646}" destId="{F87F99DB-2FC0-45B3-BDF7-A807A588167C}" srcOrd="96" destOrd="0" presId="urn:microsoft.com/office/officeart/2005/8/layout/default"/>
    <dgm:cxn modelId="{4C0FEF64-2D06-4893-AB1B-3A65EE816CD1}" type="presParOf" srcId="{6D3CBA18-C8AC-4FD5-92DF-D4BF8870C646}" destId="{93BA95C3-B203-4A61-A7B3-461DF4ABC3B1}" srcOrd="97" destOrd="0" presId="urn:microsoft.com/office/officeart/2005/8/layout/default"/>
    <dgm:cxn modelId="{4FCADDFC-6779-4D10-AA0C-DD33CD6D384C}" type="presParOf" srcId="{6D3CBA18-C8AC-4FD5-92DF-D4BF8870C646}" destId="{7C2178F5-90E9-4F22-B5E8-41C24685EC1B}" srcOrd="98" destOrd="0" presId="urn:microsoft.com/office/officeart/2005/8/layout/default"/>
    <dgm:cxn modelId="{565163DA-54EC-47C4-AEA2-DF844B228B80}" type="presParOf" srcId="{6D3CBA18-C8AC-4FD5-92DF-D4BF8870C646}" destId="{89D28C2B-A5B0-43E4-AF0B-0D83E0947019}" srcOrd="99" destOrd="0" presId="urn:microsoft.com/office/officeart/2005/8/layout/default"/>
    <dgm:cxn modelId="{44E22560-A16C-43D8-9900-D70E34DFFAB6}" type="presParOf" srcId="{6D3CBA18-C8AC-4FD5-92DF-D4BF8870C646}" destId="{C0C7865B-E583-40C1-9B33-BD4C70004E3E}" srcOrd="100" destOrd="0" presId="urn:microsoft.com/office/officeart/2005/8/layout/default"/>
    <dgm:cxn modelId="{4BD17D22-D325-4663-B9D0-EE9A14CED860}" type="presParOf" srcId="{6D3CBA18-C8AC-4FD5-92DF-D4BF8870C646}" destId="{2EEC04BA-745B-42AC-81B5-F6A2D33DB33E}" srcOrd="101" destOrd="0" presId="urn:microsoft.com/office/officeart/2005/8/layout/default"/>
    <dgm:cxn modelId="{36C1B0D6-50F7-46B6-BD3B-7F8362764A76}" type="presParOf" srcId="{6D3CBA18-C8AC-4FD5-92DF-D4BF8870C646}" destId="{90233CE6-30F6-4239-9E76-55F01F814358}" srcOrd="102" destOrd="0" presId="urn:microsoft.com/office/officeart/2005/8/layout/default"/>
    <dgm:cxn modelId="{F25503C1-3C07-459F-BED5-8E331AAAE6B5}" type="presParOf" srcId="{6D3CBA18-C8AC-4FD5-92DF-D4BF8870C646}" destId="{57BAF657-DF72-4E20-898C-244AC0F2CCAE}" srcOrd="103" destOrd="0" presId="urn:microsoft.com/office/officeart/2005/8/layout/default"/>
    <dgm:cxn modelId="{C09D397B-1CFC-4A17-BA08-A2B876A7706D}" type="presParOf" srcId="{6D3CBA18-C8AC-4FD5-92DF-D4BF8870C646}" destId="{53CEEE27-3DA6-480B-8313-294681CB03C8}" srcOrd="104" destOrd="0" presId="urn:microsoft.com/office/officeart/2005/8/layout/default"/>
    <dgm:cxn modelId="{F86143D4-7895-46F0-8EF8-37CC6E79C537}" type="presParOf" srcId="{6D3CBA18-C8AC-4FD5-92DF-D4BF8870C646}" destId="{3D273E97-F2D9-426A-9EA5-C9508F73B8B8}" srcOrd="105" destOrd="0" presId="urn:microsoft.com/office/officeart/2005/8/layout/default"/>
    <dgm:cxn modelId="{49D737C0-341C-4F42-9F8A-BEBE5EC56078}" type="presParOf" srcId="{6D3CBA18-C8AC-4FD5-92DF-D4BF8870C646}" destId="{75B7379C-AB87-4014-B9F9-4866F54E9B5C}" srcOrd="106" destOrd="0" presId="urn:microsoft.com/office/officeart/2005/8/layout/default"/>
    <dgm:cxn modelId="{B47532DB-127F-45F3-B751-AC43F93F42AF}" type="presParOf" srcId="{6D3CBA18-C8AC-4FD5-92DF-D4BF8870C646}" destId="{9DAD067B-C1C6-4F73-A48C-4BF33F060F56}" srcOrd="107" destOrd="0" presId="urn:microsoft.com/office/officeart/2005/8/layout/default"/>
    <dgm:cxn modelId="{1C2AC0CF-F165-432B-9F61-56F198FFBCD9}" type="presParOf" srcId="{6D3CBA18-C8AC-4FD5-92DF-D4BF8870C646}" destId="{58083885-4732-4575-B53E-26B955EFEDDA}" srcOrd="108" destOrd="0" presId="urn:microsoft.com/office/officeart/2005/8/layout/default"/>
    <dgm:cxn modelId="{F7725E94-CED7-4D4D-82EB-4393A5E98209}" type="presParOf" srcId="{6D3CBA18-C8AC-4FD5-92DF-D4BF8870C646}" destId="{E3CBEFC1-B8E9-4181-940D-5172D7E16F53}" srcOrd="109" destOrd="0" presId="urn:microsoft.com/office/officeart/2005/8/layout/default"/>
    <dgm:cxn modelId="{CF7EEED5-EA49-4DE9-A2DE-DF35C93A31DC}" type="presParOf" srcId="{6D3CBA18-C8AC-4FD5-92DF-D4BF8870C646}" destId="{891CBF20-3E4B-4FB4-9DA7-8F3AE5F50CBC}" srcOrd="110" destOrd="0" presId="urn:microsoft.com/office/officeart/2005/8/layout/default"/>
    <dgm:cxn modelId="{0CE5E595-B8FF-4406-81CD-EB77F9A39628}" type="presParOf" srcId="{6D3CBA18-C8AC-4FD5-92DF-D4BF8870C646}" destId="{3F8A0CB0-2E80-4ED5-9F7A-6B38C51B1586}" srcOrd="111" destOrd="0" presId="urn:microsoft.com/office/officeart/2005/8/layout/default"/>
    <dgm:cxn modelId="{B63B405F-0346-4148-A882-2A625643F296}" type="presParOf" srcId="{6D3CBA18-C8AC-4FD5-92DF-D4BF8870C646}" destId="{DD33002E-D745-4E84-AA18-95B9E9D9EC1D}" srcOrd="112" destOrd="0" presId="urn:microsoft.com/office/officeart/2005/8/layout/default"/>
    <dgm:cxn modelId="{8350E60A-D841-4390-A738-48D51AE1D38F}" type="presParOf" srcId="{6D3CBA18-C8AC-4FD5-92DF-D4BF8870C646}" destId="{AAB625E5-8E4B-406C-99EC-4FE065B4A42E}" srcOrd="113" destOrd="0" presId="urn:microsoft.com/office/officeart/2005/8/layout/default"/>
    <dgm:cxn modelId="{887C3245-257E-4895-855D-BD1D897064DB}" type="presParOf" srcId="{6D3CBA18-C8AC-4FD5-92DF-D4BF8870C646}" destId="{7FF3D7EF-F952-4BC0-A7EF-C063146300A6}" srcOrd="114" destOrd="0" presId="urn:microsoft.com/office/officeart/2005/8/layout/default"/>
    <dgm:cxn modelId="{887710DD-FCA1-4DDF-B118-4692CBFFB6CC}" type="presParOf" srcId="{6D3CBA18-C8AC-4FD5-92DF-D4BF8870C646}" destId="{292D3F7B-A697-43B6-B25B-8E54DBFA7FE8}" srcOrd="115" destOrd="0" presId="urn:microsoft.com/office/officeart/2005/8/layout/default"/>
    <dgm:cxn modelId="{FA6A0224-A230-4132-9BBD-F5DE5F4CC0EC}" type="presParOf" srcId="{6D3CBA18-C8AC-4FD5-92DF-D4BF8870C646}" destId="{FAEDC185-DCFF-4DE9-94F6-3E3762D8C482}" srcOrd="116" destOrd="0" presId="urn:microsoft.com/office/officeart/2005/8/layout/default"/>
    <dgm:cxn modelId="{C5F016B4-0AC4-49DE-B28C-0B6BCA5E613E}" type="presParOf" srcId="{6D3CBA18-C8AC-4FD5-92DF-D4BF8870C646}" destId="{5FBFCAD8-9177-483E-B74B-54735AA3C424}" srcOrd="117" destOrd="0" presId="urn:microsoft.com/office/officeart/2005/8/layout/default"/>
    <dgm:cxn modelId="{4F457029-E2E8-4761-9E66-912DE38D506D}" type="presParOf" srcId="{6D3CBA18-C8AC-4FD5-92DF-D4BF8870C646}" destId="{5F0E534D-14C6-4B44-A691-9748D7F04C17}" srcOrd="118" destOrd="0" presId="urn:microsoft.com/office/officeart/2005/8/layout/default"/>
    <dgm:cxn modelId="{D31B9691-8F25-4B2C-B809-54547D7949D2}" type="presParOf" srcId="{6D3CBA18-C8AC-4FD5-92DF-D4BF8870C646}" destId="{1EB93B0D-14FE-4AE2-8E65-CCD4C4B620F4}" srcOrd="119" destOrd="0" presId="urn:microsoft.com/office/officeart/2005/8/layout/default"/>
    <dgm:cxn modelId="{1AEE4589-398E-48C7-AEC0-DDEFFFF9FD16}" type="presParOf" srcId="{6D3CBA18-C8AC-4FD5-92DF-D4BF8870C646}" destId="{CCDA8EE7-AFDD-4DA4-8F16-6F99816972CC}" srcOrd="120" destOrd="0" presId="urn:microsoft.com/office/officeart/2005/8/layout/default"/>
    <dgm:cxn modelId="{C8809C9E-F814-4C90-A49C-12E3BB7630FA}" type="presParOf" srcId="{6D3CBA18-C8AC-4FD5-92DF-D4BF8870C646}" destId="{A1134561-6335-49A3-B752-2A288B06B8A7}" srcOrd="121" destOrd="0" presId="urn:microsoft.com/office/officeart/2005/8/layout/default"/>
    <dgm:cxn modelId="{5D0BD9D7-1016-48A0-8F2D-6AF02C24E974}" type="presParOf" srcId="{6D3CBA18-C8AC-4FD5-92DF-D4BF8870C646}" destId="{5C4A7C30-28E5-4543-A123-AD3F64FA5332}" srcOrd="122" destOrd="0" presId="urn:microsoft.com/office/officeart/2005/8/layout/default"/>
    <dgm:cxn modelId="{E370F37A-B80D-496B-92CE-62E4E99A17A0}" type="presParOf" srcId="{6D3CBA18-C8AC-4FD5-92DF-D4BF8870C646}" destId="{78BCBE94-71FC-4937-BE32-E6B6544CECC4}" srcOrd="123" destOrd="0" presId="urn:microsoft.com/office/officeart/2005/8/layout/default"/>
    <dgm:cxn modelId="{0C5B3EA2-283B-486D-BD81-314FFBB5A910}" type="presParOf" srcId="{6D3CBA18-C8AC-4FD5-92DF-D4BF8870C646}" destId="{D191C00A-FE01-4423-9F8F-1945D911C238}" srcOrd="124" destOrd="0" presId="urn:microsoft.com/office/officeart/2005/8/layout/default"/>
    <dgm:cxn modelId="{FC95811B-0D92-4BF2-AC1B-26CBC2E11424}" type="presParOf" srcId="{6D3CBA18-C8AC-4FD5-92DF-D4BF8870C646}" destId="{9474876E-99C9-4FB7-8364-E4970854FECC}" srcOrd="125" destOrd="0" presId="urn:microsoft.com/office/officeart/2005/8/layout/default"/>
    <dgm:cxn modelId="{BC441C0C-19D0-4BF0-A524-E359D12CB9F1}" type="presParOf" srcId="{6D3CBA18-C8AC-4FD5-92DF-D4BF8870C646}" destId="{9603DF31-ADB8-4CDA-9DD7-6A504A80492C}" srcOrd="126" destOrd="0" presId="urn:microsoft.com/office/officeart/2005/8/layout/default"/>
    <dgm:cxn modelId="{F9DB2D9A-1F13-476F-A2BE-96C92598D940}" type="presParOf" srcId="{6D3CBA18-C8AC-4FD5-92DF-D4BF8870C646}" destId="{19258970-9BB6-4430-B5EA-701781B9001B}" srcOrd="127" destOrd="0" presId="urn:microsoft.com/office/officeart/2005/8/layout/default"/>
    <dgm:cxn modelId="{C4946053-E4AD-47BB-A80A-F09C975D6511}" type="presParOf" srcId="{6D3CBA18-C8AC-4FD5-92DF-D4BF8870C646}" destId="{C6CB29D8-B209-4F6E-B7A0-917627718500}" srcOrd="128" destOrd="0" presId="urn:microsoft.com/office/officeart/2005/8/layout/default"/>
    <dgm:cxn modelId="{53E846FF-39FE-4E4A-A103-133ACBD33716}" type="presParOf" srcId="{6D3CBA18-C8AC-4FD5-92DF-D4BF8870C646}" destId="{3AA202E2-9DF8-4CEE-8F90-477736EFDEBF}" srcOrd="129" destOrd="0" presId="urn:microsoft.com/office/officeart/2005/8/layout/default"/>
    <dgm:cxn modelId="{2B8A8B60-F16D-4E5D-BE6D-A78E14074FE2}" type="presParOf" srcId="{6D3CBA18-C8AC-4FD5-92DF-D4BF8870C646}" destId="{8A8863A0-D74C-4318-8FBB-984319E6EBE2}" srcOrd="130" destOrd="0" presId="urn:microsoft.com/office/officeart/2005/8/layout/default"/>
    <dgm:cxn modelId="{E1E9D14C-6228-4043-A85D-4612ED0A9D53}" type="presParOf" srcId="{6D3CBA18-C8AC-4FD5-92DF-D4BF8870C646}" destId="{0761DCB6-2302-4365-8391-4AC679ABDFE8}" srcOrd="131" destOrd="0" presId="urn:microsoft.com/office/officeart/2005/8/layout/default"/>
    <dgm:cxn modelId="{8B2D6184-C45B-422D-A038-B75D7987BC4E}" type="presParOf" srcId="{6D3CBA18-C8AC-4FD5-92DF-D4BF8870C646}" destId="{3269CE9E-EFD2-43B0-B32F-7EB53A69DB26}" srcOrd="132" destOrd="0" presId="urn:microsoft.com/office/officeart/2005/8/layout/default"/>
    <dgm:cxn modelId="{A7CFC46C-518F-4FE5-83B5-BA2E80056424}" type="presParOf" srcId="{6D3CBA18-C8AC-4FD5-92DF-D4BF8870C646}" destId="{56CA1479-FAA8-415F-BD26-1974D9D9CFF4}" srcOrd="133" destOrd="0" presId="urn:microsoft.com/office/officeart/2005/8/layout/default"/>
    <dgm:cxn modelId="{127E4E4E-90A6-49EC-8C0E-2A516F0A4AF0}" type="presParOf" srcId="{6D3CBA18-C8AC-4FD5-92DF-D4BF8870C646}" destId="{C3530B4A-E9A3-4ADF-80E2-D9C32D5DAF9D}" srcOrd="134" destOrd="0" presId="urn:microsoft.com/office/officeart/2005/8/layout/default"/>
    <dgm:cxn modelId="{87890FE1-E397-4C34-8897-88F700EB0C16}" type="presParOf" srcId="{6D3CBA18-C8AC-4FD5-92DF-D4BF8870C646}" destId="{9D48E114-0E4E-4E92-99E0-BDA392F59792}" srcOrd="135" destOrd="0" presId="urn:microsoft.com/office/officeart/2005/8/layout/default"/>
    <dgm:cxn modelId="{9F565BEA-50B8-499F-B143-C2AC2A5D09A2}" type="presParOf" srcId="{6D3CBA18-C8AC-4FD5-92DF-D4BF8870C646}" destId="{04D6F666-D0A9-4B9C-8F07-F9FE3A3325C0}" srcOrd="136" destOrd="0" presId="urn:microsoft.com/office/officeart/2005/8/layout/default"/>
    <dgm:cxn modelId="{155D4153-380D-45F2-AC9D-8129BEFF2DF3}" type="presParOf" srcId="{6D3CBA18-C8AC-4FD5-92DF-D4BF8870C646}" destId="{BDB6B7E8-7BB0-4A1C-A7A5-7183BC20179A}" srcOrd="137" destOrd="0" presId="urn:microsoft.com/office/officeart/2005/8/layout/default"/>
    <dgm:cxn modelId="{5F64ED45-7EAA-43F5-8BB0-A3FBC144F569}" type="presParOf" srcId="{6D3CBA18-C8AC-4FD5-92DF-D4BF8870C646}" destId="{B0E95EF1-21FE-4D47-B7FC-1DD2D413A441}" srcOrd="138" destOrd="0" presId="urn:microsoft.com/office/officeart/2005/8/layout/default"/>
    <dgm:cxn modelId="{0F9F393D-E947-4C99-ADA2-52E1C8DAB0C1}" type="presParOf" srcId="{6D3CBA18-C8AC-4FD5-92DF-D4BF8870C646}" destId="{F7C059FC-896D-460B-98E7-E1E37EF8DA27}" srcOrd="139" destOrd="0" presId="urn:microsoft.com/office/officeart/2005/8/layout/default"/>
    <dgm:cxn modelId="{92ADBD9A-30BB-4447-9163-042C2E939C2D}" type="presParOf" srcId="{6D3CBA18-C8AC-4FD5-92DF-D4BF8870C646}" destId="{1DAA0598-B2B5-4117-8883-DCBDF1B93192}" srcOrd="140" destOrd="0" presId="urn:microsoft.com/office/officeart/2005/8/layout/default"/>
    <dgm:cxn modelId="{6E79400B-C4D4-4D57-8E23-69165EE259FA}" type="presParOf" srcId="{6D3CBA18-C8AC-4FD5-92DF-D4BF8870C646}" destId="{D08B6527-B931-4589-8668-1EBD8124FAF9}" srcOrd="141" destOrd="0" presId="urn:microsoft.com/office/officeart/2005/8/layout/default"/>
    <dgm:cxn modelId="{28241B00-2CAA-47A3-9C2B-AA1B283CCAC0}" type="presParOf" srcId="{6D3CBA18-C8AC-4FD5-92DF-D4BF8870C646}" destId="{DDB7036E-77FB-4F9A-89B3-FD474FD45368}" srcOrd="142" destOrd="0" presId="urn:microsoft.com/office/officeart/2005/8/layout/default"/>
    <dgm:cxn modelId="{F508BD61-5E8C-4292-8A9F-DCCBBBA49C4F}" type="presParOf" srcId="{6D3CBA18-C8AC-4FD5-92DF-D4BF8870C646}" destId="{DAB9EBD7-1A83-4E9E-9B92-2BE37DE72FBB}" srcOrd="143" destOrd="0" presId="urn:microsoft.com/office/officeart/2005/8/layout/default"/>
    <dgm:cxn modelId="{A2AC42C0-C85F-491D-A500-DA95EE03FE39}" type="presParOf" srcId="{6D3CBA18-C8AC-4FD5-92DF-D4BF8870C646}" destId="{208D80A4-DD84-4377-AE14-776FAAE69D90}" srcOrd="144" destOrd="0" presId="urn:microsoft.com/office/officeart/2005/8/layout/default"/>
    <dgm:cxn modelId="{B499574F-D606-438C-B51E-215C470A230F}" type="presParOf" srcId="{6D3CBA18-C8AC-4FD5-92DF-D4BF8870C646}" destId="{A1C88CFF-B806-46F1-8B79-893EFEB6B5B0}" srcOrd="145" destOrd="0" presId="urn:microsoft.com/office/officeart/2005/8/layout/default"/>
    <dgm:cxn modelId="{B3DE7009-16DC-480D-A499-8BFD2EF568E0}" type="presParOf" srcId="{6D3CBA18-C8AC-4FD5-92DF-D4BF8870C646}" destId="{3E2C9903-DC8B-4A21-972B-A1D9AF11AA85}" srcOrd="146" destOrd="0" presId="urn:microsoft.com/office/officeart/2005/8/layout/default"/>
    <dgm:cxn modelId="{E997AAD5-5553-4F7A-BEB8-87CAB4C9DECB}" type="presParOf" srcId="{6D3CBA18-C8AC-4FD5-92DF-D4BF8870C646}" destId="{30F764E7-C0F8-4FBA-9E54-E023B5E7CC4A}" srcOrd="147" destOrd="0" presId="urn:microsoft.com/office/officeart/2005/8/layout/default"/>
    <dgm:cxn modelId="{5E71043E-654A-4D92-B64D-A91AC7342360}" type="presParOf" srcId="{6D3CBA18-C8AC-4FD5-92DF-D4BF8870C646}" destId="{35499E8B-7D0D-40A6-AE8D-CBC9354E052F}" srcOrd="148" destOrd="0" presId="urn:microsoft.com/office/officeart/2005/8/layout/default"/>
    <dgm:cxn modelId="{3AE9A969-CB6B-4BC4-8088-0FB38EC69D32}" type="presParOf" srcId="{6D3CBA18-C8AC-4FD5-92DF-D4BF8870C646}" destId="{7196CB4A-35E3-46DE-9154-FD435D1505CB}" srcOrd="149" destOrd="0" presId="urn:microsoft.com/office/officeart/2005/8/layout/default"/>
    <dgm:cxn modelId="{983043DB-04D1-4BF5-9BC9-FB91E87D5921}" type="presParOf" srcId="{6D3CBA18-C8AC-4FD5-92DF-D4BF8870C646}" destId="{13799D8C-AFF7-4709-86C4-4999C8592442}" srcOrd="150" destOrd="0" presId="urn:microsoft.com/office/officeart/2005/8/layout/default"/>
    <dgm:cxn modelId="{A0F71AFB-8E1F-40C8-A04D-53C466BD217C}" type="presParOf" srcId="{6D3CBA18-C8AC-4FD5-92DF-D4BF8870C646}" destId="{003E21AE-FF81-4413-9904-2DE5B8819AA5}" srcOrd="151" destOrd="0" presId="urn:microsoft.com/office/officeart/2005/8/layout/default"/>
    <dgm:cxn modelId="{06554D14-0705-47CA-A9E8-A613D640D828}" type="presParOf" srcId="{6D3CBA18-C8AC-4FD5-92DF-D4BF8870C646}" destId="{4BD34EB2-7931-4BF4-BD16-CA859A830882}" srcOrd="152" destOrd="0" presId="urn:microsoft.com/office/officeart/2005/8/layout/default"/>
    <dgm:cxn modelId="{4770A5A7-19F2-42C7-8EC3-4E6F81910005}" type="presParOf" srcId="{6D3CBA18-C8AC-4FD5-92DF-D4BF8870C646}" destId="{BEFBD337-6399-451F-9DA0-43CA91520C27}" srcOrd="153" destOrd="0" presId="urn:microsoft.com/office/officeart/2005/8/layout/default"/>
    <dgm:cxn modelId="{BDACDA6D-01DC-4CA3-BB02-DBC69FE32D83}" type="presParOf" srcId="{6D3CBA18-C8AC-4FD5-92DF-D4BF8870C646}" destId="{E0B1CC61-816A-4C77-90DB-BB2629320276}" srcOrd="154" destOrd="0" presId="urn:microsoft.com/office/officeart/2005/8/layout/default"/>
    <dgm:cxn modelId="{94B5BE10-9087-4158-8BB6-9A94FFDF34D9}" type="presParOf" srcId="{6D3CBA18-C8AC-4FD5-92DF-D4BF8870C646}" destId="{680FA325-4FB5-4246-9472-56E9E2E3E0E4}" srcOrd="155" destOrd="0" presId="urn:microsoft.com/office/officeart/2005/8/layout/default"/>
    <dgm:cxn modelId="{A95B0445-483D-4906-9BF1-27BE91FD54EC}" type="presParOf" srcId="{6D3CBA18-C8AC-4FD5-92DF-D4BF8870C646}" destId="{CAF53750-8D6D-40C8-B8F1-B110105DC818}" srcOrd="156" destOrd="0" presId="urn:microsoft.com/office/officeart/2005/8/layout/default"/>
    <dgm:cxn modelId="{C5896017-8405-40CF-8495-8915CDEE858E}" type="presParOf" srcId="{6D3CBA18-C8AC-4FD5-92DF-D4BF8870C646}" destId="{44827697-AB1B-4B32-A27B-C5A611D367A6}" srcOrd="157" destOrd="0" presId="urn:microsoft.com/office/officeart/2005/8/layout/default"/>
    <dgm:cxn modelId="{DED5DD43-284E-4431-B46D-C765B5E87B17}" type="presParOf" srcId="{6D3CBA18-C8AC-4FD5-92DF-D4BF8870C646}" destId="{052E8E50-79D6-492E-8C20-0AAEB5148879}" srcOrd="158" destOrd="0" presId="urn:microsoft.com/office/officeart/2005/8/layout/default"/>
    <dgm:cxn modelId="{968A09A0-B876-4E74-9A14-04873D88FEE5}" type="presParOf" srcId="{6D3CBA18-C8AC-4FD5-92DF-D4BF8870C646}" destId="{A5CC3B9C-97AA-450F-A7B8-0CBF3DF38788}" srcOrd="159" destOrd="0" presId="urn:microsoft.com/office/officeart/2005/8/layout/default"/>
    <dgm:cxn modelId="{EF4DEF01-0813-456C-A0E8-0426406AE9AA}" type="presParOf" srcId="{6D3CBA18-C8AC-4FD5-92DF-D4BF8870C646}" destId="{B13ED376-2A69-4C5B-A5B1-C2D47D86D8F5}" srcOrd="160" destOrd="0" presId="urn:microsoft.com/office/officeart/2005/8/layout/default"/>
    <dgm:cxn modelId="{F43C2E27-6746-4CBA-A45B-170205553C96}" type="presParOf" srcId="{6D3CBA18-C8AC-4FD5-92DF-D4BF8870C646}" destId="{AAF81F8C-E9D5-43D9-B934-D901F0D8F125}" srcOrd="161" destOrd="0" presId="urn:microsoft.com/office/officeart/2005/8/layout/default"/>
    <dgm:cxn modelId="{4753C20D-8439-4FB0-BC97-C96DD50510DB}" type="presParOf" srcId="{6D3CBA18-C8AC-4FD5-92DF-D4BF8870C646}" destId="{ABE6EA04-F862-4AA3-B6F1-EB9E0C1561CE}" srcOrd="162" destOrd="0" presId="urn:microsoft.com/office/officeart/2005/8/layout/default"/>
    <dgm:cxn modelId="{8CA3A64C-5F83-4E49-AADB-74902D7575BF}" type="presParOf" srcId="{6D3CBA18-C8AC-4FD5-92DF-D4BF8870C646}" destId="{A9491F13-C550-4EA6-BFF8-D1685E53A892}" srcOrd="163" destOrd="0" presId="urn:microsoft.com/office/officeart/2005/8/layout/default"/>
    <dgm:cxn modelId="{BE7DEC37-6CBE-436D-AABF-5DF9CFA68C58}" type="presParOf" srcId="{6D3CBA18-C8AC-4FD5-92DF-D4BF8870C646}" destId="{280ABEB8-4241-4BD2-8D21-66E078E45823}" srcOrd="164" destOrd="0" presId="urn:microsoft.com/office/officeart/2005/8/layout/default"/>
    <dgm:cxn modelId="{DAA401BB-F8B8-4424-9B78-694B2F95FDCD}" type="presParOf" srcId="{6D3CBA18-C8AC-4FD5-92DF-D4BF8870C646}" destId="{971DCD39-701E-47A7-B4DD-3853AF52C93D}" srcOrd="165" destOrd="0" presId="urn:microsoft.com/office/officeart/2005/8/layout/default"/>
    <dgm:cxn modelId="{9D1E760A-8656-4000-BC55-28FE7EA4237B}" type="presParOf" srcId="{6D3CBA18-C8AC-4FD5-92DF-D4BF8870C646}" destId="{04D77BB8-4965-4D42-BA99-013A0579EE85}" srcOrd="166" destOrd="0" presId="urn:microsoft.com/office/officeart/2005/8/layout/default"/>
    <dgm:cxn modelId="{724569C9-8F7E-4AFA-9A32-191A2FFEA329}" type="presParOf" srcId="{6D3CBA18-C8AC-4FD5-92DF-D4BF8870C646}" destId="{81BE71AE-DC34-45F3-8768-D9ABB49FA213}" srcOrd="167" destOrd="0" presId="urn:microsoft.com/office/officeart/2005/8/layout/default"/>
    <dgm:cxn modelId="{5CDA9A44-967B-4790-97E7-38203F38061D}" type="presParOf" srcId="{6D3CBA18-C8AC-4FD5-92DF-D4BF8870C646}" destId="{84BF44F1-0789-428A-A295-001C0CE340F6}" srcOrd="168" destOrd="0" presId="urn:microsoft.com/office/officeart/2005/8/layout/default"/>
    <dgm:cxn modelId="{6A2F76DB-6BCA-479B-9D2F-B718B822E35A}" type="presParOf" srcId="{6D3CBA18-C8AC-4FD5-92DF-D4BF8870C646}" destId="{39A0C9FB-3560-4FBA-9964-E87912D59EF2}" srcOrd="169" destOrd="0" presId="urn:microsoft.com/office/officeart/2005/8/layout/default"/>
    <dgm:cxn modelId="{A9453D43-9715-4C7A-ABE1-25B564F37956}" type="presParOf" srcId="{6D3CBA18-C8AC-4FD5-92DF-D4BF8870C646}" destId="{3135B7FD-56B2-490B-9FB5-2A970B285206}" srcOrd="170" destOrd="0" presId="urn:microsoft.com/office/officeart/2005/8/layout/default"/>
    <dgm:cxn modelId="{8CFBF5A0-CA52-4669-9AC5-0CF91102A95C}" type="presParOf" srcId="{6D3CBA18-C8AC-4FD5-92DF-D4BF8870C646}" destId="{F0814E5B-5B27-4B73-977C-E235B19C809E}" srcOrd="171" destOrd="0" presId="urn:microsoft.com/office/officeart/2005/8/layout/default"/>
    <dgm:cxn modelId="{2B5A5A29-D8FE-43C9-9DF7-1C08A48BC876}" type="presParOf" srcId="{6D3CBA18-C8AC-4FD5-92DF-D4BF8870C646}" destId="{9E486785-6256-4EDC-9814-42D18FD59030}" srcOrd="172" destOrd="0" presId="urn:microsoft.com/office/officeart/2005/8/layout/default"/>
    <dgm:cxn modelId="{86305773-22D1-4C51-ACB0-F213EE664D24}" type="presParOf" srcId="{6D3CBA18-C8AC-4FD5-92DF-D4BF8870C646}" destId="{F79DF292-DDD9-43FC-BA56-746E828E995C}" srcOrd="173" destOrd="0" presId="urn:microsoft.com/office/officeart/2005/8/layout/default"/>
    <dgm:cxn modelId="{33C804E4-3AA8-4439-8F7E-0C4303211C04}" type="presParOf" srcId="{6D3CBA18-C8AC-4FD5-92DF-D4BF8870C646}" destId="{1C59D157-B449-4E93-95A4-B5B249CBFF91}" srcOrd="174" destOrd="0" presId="urn:microsoft.com/office/officeart/2005/8/layout/default"/>
  </dgm:cxnLst>
  <dgm:bg>
    <a:solidFill>
      <a:schemeClr val="accent3">
        <a:lumMod val="95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A8A499-F60B-4912-A3C6-067C33C72304}">
      <dsp:nvSpPr>
        <dsp:cNvPr id="0" name=""/>
        <dsp:cNvSpPr/>
      </dsp:nvSpPr>
      <dsp:spPr>
        <a:xfrm>
          <a:off x="0" y="126999"/>
          <a:ext cx="6096000" cy="3810000"/>
        </a:xfrm>
        <a:prstGeom prst="swooshArrow">
          <a:avLst>
            <a:gd name="adj1" fmla="val 25000"/>
            <a:gd name="adj2" fmla="val 25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3DF065-5CEE-44AC-A163-BAC2E21C41BD}">
      <dsp:nvSpPr>
        <dsp:cNvPr id="0" name=""/>
        <dsp:cNvSpPr/>
      </dsp:nvSpPr>
      <dsp:spPr>
        <a:xfrm>
          <a:off x="600456" y="2960116"/>
          <a:ext cx="140208" cy="14020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B5BC8A9-A134-4C67-9F18-4F79483C31B4}">
      <dsp:nvSpPr>
        <dsp:cNvPr id="0" name=""/>
        <dsp:cNvSpPr/>
      </dsp:nvSpPr>
      <dsp:spPr>
        <a:xfrm>
          <a:off x="279828" y="3030220"/>
          <a:ext cx="1580038" cy="9067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293" tIns="0" rIns="0" bIns="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kern="1200" dirty="0" smtClean="0"/>
            <a:t>SQL Server</a:t>
          </a:r>
          <a:endParaRPr lang="zh-CN" altLang="en-US" sz="2400" kern="1200" dirty="0"/>
        </a:p>
      </dsp:txBody>
      <dsp:txXfrm>
        <a:off x="279828" y="3030220"/>
        <a:ext cx="1580038" cy="906780"/>
      </dsp:txXfrm>
    </dsp:sp>
    <dsp:sp modelId="{85E26FA4-A3F4-4D84-8966-C8574EBA4F0F}">
      <dsp:nvSpPr>
        <dsp:cNvPr id="0" name=""/>
        <dsp:cNvSpPr/>
      </dsp:nvSpPr>
      <dsp:spPr>
        <a:xfrm>
          <a:off x="1359408" y="2230881"/>
          <a:ext cx="219456" cy="21945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8ACB65-E2AA-401A-8A04-E2D7CD40B870}">
      <dsp:nvSpPr>
        <dsp:cNvPr id="0" name=""/>
        <dsp:cNvSpPr/>
      </dsp:nvSpPr>
      <dsp:spPr>
        <a:xfrm>
          <a:off x="1469136" y="2340610"/>
          <a:ext cx="1011936" cy="15963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6285" tIns="0" rIns="0" bIns="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kern="1200" dirty="0" smtClean="0"/>
            <a:t>Oracle</a:t>
          </a:r>
          <a:endParaRPr lang="zh-CN" altLang="en-US" sz="2400" kern="1200" dirty="0"/>
        </a:p>
      </dsp:txBody>
      <dsp:txXfrm>
        <a:off x="1469136" y="2340610"/>
        <a:ext cx="1011936" cy="1596390"/>
      </dsp:txXfrm>
    </dsp:sp>
    <dsp:sp modelId="{8E7C2D06-6A53-417A-B9E3-BA387A3F2C85}">
      <dsp:nvSpPr>
        <dsp:cNvPr id="0" name=""/>
        <dsp:cNvSpPr/>
      </dsp:nvSpPr>
      <dsp:spPr>
        <a:xfrm>
          <a:off x="2334768" y="1649476"/>
          <a:ext cx="292608" cy="29260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C0BAF8-CCDD-4C79-B6E6-F3A62E29F074}">
      <dsp:nvSpPr>
        <dsp:cNvPr id="0" name=""/>
        <dsp:cNvSpPr/>
      </dsp:nvSpPr>
      <dsp:spPr>
        <a:xfrm>
          <a:off x="2481072" y="1795780"/>
          <a:ext cx="1176528" cy="21412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5047" tIns="0" rIns="0" bIns="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kern="1200" dirty="0" smtClean="0"/>
            <a:t>MySQL</a:t>
          </a:r>
          <a:endParaRPr lang="zh-CN" altLang="en-US" sz="2400" kern="1200" dirty="0"/>
        </a:p>
      </dsp:txBody>
      <dsp:txXfrm>
        <a:off x="2481072" y="1795780"/>
        <a:ext cx="1176528" cy="2141220"/>
      </dsp:txXfrm>
    </dsp:sp>
    <dsp:sp modelId="{693AB1D8-7E6A-427B-85A8-A044FBA09EBE}">
      <dsp:nvSpPr>
        <dsp:cNvPr id="0" name=""/>
        <dsp:cNvSpPr/>
      </dsp:nvSpPr>
      <dsp:spPr>
        <a:xfrm>
          <a:off x="3468624" y="1195324"/>
          <a:ext cx="377952" cy="37795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8210032-EF91-494F-966F-B2C574D02113}">
      <dsp:nvSpPr>
        <dsp:cNvPr id="0" name=""/>
        <dsp:cNvSpPr/>
      </dsp:nvSpPr>
      <dsp:spPr>
        <a:xfrm>
          <a:off x="3657600" y="1384300"/>
          <a:ext cx="1219200" cy="2552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0269" tIns="0" rIns="0" bIns="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kern="1200" dirty="0" smtClean="0"/>
            <a:t>EDW</a:t>
          </a:r>
          <a:endParaRPr lang="zh-CN" altLang="en-US" sz="2400" kern="1200" dirty="0"/>
        </a:p>
      </dsp:txBody>
      <dsp:txXfrm>
        <a:off x="3657600" y="1384300"/>
        <a:ext cx="1219200" cy="2552700"/>
      </dsp:txXfrm>
    </dsp:sp>
    <dsp:sp modelId="{43DA4E2C-F827-481A-8169-EC0964140AB8}">
      <dsp:nvSpPr>
        <dsp:cNvPr id="0" name=""/>
        <dsp:cNvSpPr/>
      </dsp:nvSpPr>
      <dsp:spPr>
        <a:xfrm>
          <a:off x="4636008" y="892047"/>
          <a:ext cx="481584" cy="48158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238E3E-412A-4ABD-9AAD-4178E9D689C7}">
      <dsp:nvSpPr>
        <dsp:cNvPr id="0" name=""/>
        <dsp:cNvSpPr/>
      </dsp:nvSpPr>
      <dsp:spPr>
        <a:xfrm>
          <a:off x="4876800" y="1132839"/>
          <a:ext cx="1219200" cy="2804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5181" tIns="0" rIns="0" bIns="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kern="1200" dirty="0" smtClean="0">
              <a:solidFill>
                <a:srgbClr val="FF0000"/>
              </a:solidFill>
            </a:rPr>
            <a:t>JDW</a:t>
          </a:r>
          <a:endParaRPr lang="zh-CN" altLang="en-US" sz="2400" kern="1200" dirty="0">
            <a:solidFill>
              <a:srgbClr val="FF0000"/>
            </a:solidFill>
          </a:endParaRPr>
        </a:p>
      </dsp:txBody>
      <dsp:txXfrm>
        <a:off x="4876800" y="1132839"/>
        <a:ext cx="1219200" cy="2804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5B911E-C025-4EED-97CF-31E8BD915848}">
      <dsp:nvSpPr>
        <dsp:cNvPr id="0" name=""/>
        <dsp:cNvSpPr/>
      </dsp:nvSpPr>
      <dsp:spPr>
        <a:xfrm>
          <a:off x="3634" y="15890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CRM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634" y="158908"/>
        <a:ext cx="619744" cy="371846"/>
      </dsp:txXfrm>
    </dsp:sp>
    <dsp:sp modelId="{8516B6BE-B862-4FB4-BC55-0A46348DB3AC}">
      <dsp:nvSpPr>
        <dsp:cNvPr id="0" name=""/>
        <dsp:cNvSpPr/>
      </dsp:nvSpPr>
      <dsp:spPr>
        <a:xfrm>
          <a:off x="685354" y="15890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问卷外呼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5354" y="158908"/>
        <a:ext cx="619744" cy="371846"/>
      </dsp:txXfrm>
    </dsp:sp>
    <dsp:sp modelId="{F3E5B544-9B48-47A0-92E7-E2231ABB97AC}">
      <dsp:nvSpPr>
        <dsp:cNvPr id="0" name=""/>
        <dsp:cNvSpPr/>
      </dsp:nvSpPr>
      <dsp:spPr>
        <a:xfrm>
          <a:off x="1367073" y="15890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知识库项目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367073" y="158908"/>
        <a:ext cx="619744" cy="371846"/>
      </dsp:txXfrm>
    </dsp:sp>
    <dsp:sp modelId="{A643B78D-98FA-457C-8CCB-D9443859B8F3}">
      <dsp:nvSpPr>
        <dsp:cNvPr id="0" name=""/>
        <dsp:cNvSpPr/>
      </dsp:nvSpPr>
      <dsp:spPr>
        <a:xfrm>
          <a:off x="2048792" y="15890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客服工单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048792" y="158908"/>
        <a:ext cx="619744" cy="371846"/>
      </dsp:txXfrm>
    </dsp:sp>
    <dsp:sp modelId="{5EDE6CF7-6918-4244-A4FE-B7BE94F88DCE}">
      <dsp:nvSpPr>
        <dsp:cNvPr id="0" name=""/>
        <dsp:cNvSpPr/>
      </dsp:nvSpPr>
      <dsp:spPr>
        <a:xfrm>
          <a:off x="2730512" y="15890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730512" y="158908"/>
        <a:ext cx="619744" cy="371846"/>
      </dsp:txXfrm>
    </dsp:sp>
    <dsp:sp modelId="{8216FDBA-C7B4-41C8-B41D-BB5B16E47FF7}">
      <dsp:nvSpPr>
        <dsp:cNvPr id="0" name=""/>
        <dsp:cNvSpPr/>
      </dsp:nvSpPr>
      <dsp:spPr>
        <a:xfrm>
          <a:off x="3412231" y="15890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服务平台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412231" y="158908"/>
        <a:ext cx="619744" cy="371846"/>
      </dsp:txXfrm>
    </dsp:sp>
    <dsp:sp modelId="{9BD52830-9DE9-453C-B3AC-559643F588C7}">
      <dsp:nvSpPr>
        <dsp:cNvPr id="0" name=""/>
        <dsp:cNvSpPr/>
      </dsp:nvSpPr>
      <dsp:spPr>
        <a:xfrm>
          <a:off x="4093950" y="15890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赔付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093950" y="158908"/>
        <a:ext cx="619744" cy="371846"/>
      </dsp:txXfrm>
    </dsp:sp>
    <dsp:sp modelId="{EC05B19E-D5F7-47FD-9C72-7E7FD38040E5}">
      <dsp:nvSpPr>
        <dsp:cNvPr id="0" name=""/>
        <dsp:cNvSpPr/>
      </dsp:nvSpPr>
      <dsp:spPr>
        <a:xfrm>
          <a:off x="4775670" y="15890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备件库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775670" y="158908"/>
        <a:ext cx="619744" cy="371846"/>
      </dsp:txXfrm>
    </dsp:sp>
    <dsp:sp modelId="{692D1D26-3FC4-4A3B-967F-5FCE58A6D894}">
      <dsp:nvSpPr>
        <dsp:cNvPr id="0" name=""/>
        <dsp:cNvSpPr/>
      </dsp:nvSpPr>
      <dsp:spPr>
        <a:xfrm>
          <a:off x="5457389" y="15890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备件库销售平台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457389" y="158908"/>
        <a:ext cx="619744" cy="371846"/>
      </dsp:txXfrm>
    </dsp:sp>
    <dsp:sp modelId="{E83C9897-1050-4D61-9F9D-DB5320D6890A}">
      <dsp:nvSpPr>
        <dsp:cNvPr id="0" name=""/>
        <dsp:cNvSpPr/>
      </dsp:nvSpPr>
      <dsp:spPr>
        <a:xfrm>
          <a:off x="6139108" y="15890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推荐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139108" y="158908"/>
        <a:ext cx="619744" cy="371846"/>
      </dsp:txXfrm>
    </dsp:sp>
    <dsp:sp modelId="{18A0FE2B-319A-4A6E-B726-CC1B62AA3AB8}">
      <dsp:nvSpPr>
        <dsp:cNvPr id="0" name=""/>
        <dsp:cNvSpPr/>
      </dsp:nvSpPr>
      <dsp:spPr>
        <a:xfrm>
          <a:off x="6820828" y="15890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青龙系统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20828" y="158908"/>
        <a:ext cx="619744" cy="371846"/>
      </dsp:txXfrm>
    </dsp:sp>
    <dsp:sp modelId="{6E3365C0-D433-4FF9-907C-F63B7BBC73F9}">
      <dsp:nvSpPr>
        <dsp:cNvPr id="0" name=""/>
        <dsp:cNvSpPr/>
      </dsp:nvSpPr>
      <dsp:spPr>
        <a:xfrm>
          <a:off x="3634" y="592730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用户管理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634" y="592730"/>
        <a:ext cx="619744" cy="371846"/>
      </dsp:txXfrm>
    </dsp:sp>
    <dsp:sp modelId="{AB63E5EF-93F4-423B-B3AE-5B2A1C25A145}">
      <dsp:nvSpPr>
        <dsp:cNvPr id="0" name=""/>
        <dsp:cNvSpPr/>
      </dsp:nvSpPr>
      <dsp:spPr>
        <a:xfrm>
          <a:off x="685354" y="592730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用户社区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5354" y="592730"/>
        <a:ext cx="619744" cy="371846"/>
      </dsp:txXfrm>
    </dsp:sp>
    <dsp:sp modelId="{C59E311E-3AC8-480C-9037-873FD74CD477}">
      <dsp:nvSpPr>
        <dsp:cNvPr id="0" name=""/>
        <dsp:cNvSpPr/>
      </dsp:nvSpPr>
      <dsp:spPr>
        <a:xfrm>
          <a:off x="1367073" y="592730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优惠券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367073" y="592730"/>
        <a:ext cx="619744" cy="371846"/>
      </dsp:txXfrm>
    </dsp:sp>
    <dsp:sp modelId="{99C49034-E7A2-48E0-BD65-DEA4ADB5E017}">
      <dsp:nvSpPr>
        <dsp:cNvPr id="0" name=""/>
        <dsp:cNvSpPr/>
      </dsp:nvSpPr>
      <dsp:spPr>
        <a:xfrm>
          <a:off x="2048792" y="592730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联盟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048792" y="592730"/>
        <a:ext cx="619744" cy="371846"/>
      </dsp:txXfrm>
    </dsp:sp>
    <dsp:sp modelId="{5311DBA8-AFF8-42BD-A1DB-BC57A3F155C1}">
      <dsp:nvSpPr>
        <dsp:cNvPr id="0" name=""/>
        <dsp:cNvSpPr/>
      </dsp:nvSpPr>
      <dsp:spPr>
        <a:xfrm>
          <a:off x="2730512" y="592730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夺宝岛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730512" y="592730"/>
        <a:ext cx="619744" cy="371846"/>
      </dsp:txXfrm>
    </dsp:sp>
    <dsp:sp modelId="{07CA5CB5-3678-4E57-91D5-FB38023D1D4A}">
      <dsp:nvSpPr>
        <dsp:cNvPr id="0" name=""/>
        <dsp:cNvSpPr/>
      </dsp:nvSpPr>
      <dsp:spPr>
        <a:xfrm>
          <a:off x="3412231" y="592730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库存健康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412231" y="592730"/>
        <a:ext cx="619744" cy="371846"/>
      </dsp:txXfrm>
    </dsp:sp>
    <dsp:sp modelId="{93E9756A-50BF-457C-9075-870B0AEE5D62}">
      <dsp:nvSpPr>
        <dsp:cNvPr id="0" name=""/>
        <dsp:cNvSpPr/>
      </dsp:nvSpPr>
      <dsp:spPr>
        <a:xfrm>
          <a:off x="4093950" y="592730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采购退货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093950" y="592730"/>
        <a:ext cx="619744" cy="371846"/>
      </dsp:txXfrm>
    </dsp:sp>
    <dsp:sp modelId="{5F17A991-935B-49EC-8EB8-E1C31C21D400}">
      <dsp:nvSpPr>
        <dsp:cNvPr id="0" name=""/>
        <dsp:cNvSpPr/>
      </dsp:nvSpPr>
      <dsp:spPr>
        <a:xfrm>
          <a:off x="4775670" y="592730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比价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775670" y="592730"/>
        <a:ext cx="619744" cy="371846"/>
      </dsp:txXfrm>
    </dsp:sp>
    <dsp:sp modelId="{91AB7FB1-9F45-4B4E-9E39-F11F88B5D92C}">
      <dsp:nvSpPr>
        <dsp:cNvPr id="0" name=""/>
        <dsp:cNvSpPr/>
      </dsp:nvSpPr>
      <dsp:spPr>
        <a:xfrm>
          <a:off x="5457389" y="592730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Promise</a:t>
          </a:r>
          <a:endParaRPr 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457389" y="592730"/>
        <a:ext cx="619744" cy="371846"/>
      </dsp:txXfrm>
    </dsp:sp>
    <dsp:sp modelId="{B8E18320-AD3F-4F62-9E51-4527891CA2EC}">
      <dsp:nvSpPr>
        <dsp:cNvPr id="0" name=""/>
        <dsp:cNvSpPr/>
      </dsp:nvSpPr>
      <dsp:spPr>
        <a:xfrm>
          <a:off x="6139108" y="592730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订单分布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139108" y="592730"/>
        <a:ext cx="619744" cy="371846"/>
      </dsp:txXfrm>
    </dsp:sp>
    <dsp:sp modelId="{A121ACD9-B9E6-4B8C-99BA-1E57F0ED35B2}">
      <dsp:nvSpPr>
        <dsp:cNvPr id="0" name=""/>
        <dsp:cNvSpPr/>
      </dsp:nvSpPr>
      <dsp:spPr>
        <a:xfrm>
          <a:off x="6820828" y="592730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采购进货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20828" y="592730"/>
        <a:ext cx="619744" cy="371846"/>
      </dsp:txXfrm>
    </dsp:sp>
    <dsp:sp modelId="{C6188723-5AAD-4D79-B35F-E78EF3CFA288}">
      <dsp:nvSpPr>
        <dsp:cNvPr id="0" name=""/>
        <dsp:cNvSpPr/>
      </dsp:nvSpPr>
      <dsp:spPr>
        <a:xfrm>
          <a:off x="3634" y="1026551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供应商开放平台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634" y="1026551"/>
        <a:ext cx="619744" cy="371846"/>
      </dsp:txXfrm>
    </dsp:sp>
    <dsp:sp modelId="{6F46BD43-3DBA-4FAC-A7AC-EF0AF486C53E}">
      <dsp:nvSpPr>
        <dsp:cNvPr id="0" name=""/>
        <dsp:cNvSpPr/>
      </dsp:nvSpPr>
      <dsp:spPr>
        <a:xfrm>
          <a:off x="685354" y="1026551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供应商主数据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5354" y="1026551"/>
        <a:ext cx="619744" cy="371846"/>
      </dsp:txXfrm>
    </dsp:sp>
    <dsp:sp modelId="{779BADB7-ACBB-4B1B-BA3E-199CAAEE5E4C}">
      <dsp:nvSpPr>
        <dsp:cNvPr id="0" name=""/>
        <dsp:cNvSpPr/>
      </dsp:nvSpPr>
      <dsp:spPr>
        <a:xfrm>
          <a:off x="1367073" y="1026551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供应商价格管理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367073" y="1026551"/>
        <a:ext cx="619744" cy="371846"/>
      </dsp:txXfrm>
    </dsp:sp>
    <dsp:sp modelId="{96F85D40-FAD2-4003-806B-A68F49F8613D}">
      <dsp:nvSpPr>
        <dsp:cNvPr id="0" name=""/>
        <dsp:cNvSpPr/>
      </dsp:nvSpPr>
      <dsp:spPr>
        <a:xfrm>
          <a:off x="2048792" y="1026551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wap</a:t>
          </a: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版网站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048792" y="1026551"/>
        <a:ext cx="619744" cy="371846"/>
      </dsp:txXfrm>
    </dsp:sp>
    <dsp:sp modelId="{24668232-E705-4DBA-96DD-50A0AFAE0DCD}">
      <dsp:nvSpPr>
        <dsp:cNvPr id="0" name=""/>
        <dsp:cNvSpPr/>
      </dsp:nvSpPr>
      <dsp:spPr>
        <a:xfrm>
          <a:off x="2730512" y="1026551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EDI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730512" y="1026551"/>
        <a:ext cx="619744" cy="371846"/>
      </dsp:txXfrm>
    </dsp:sp>
    <dsp:sp modelId="{68AF84B8-7736-4957-AC76-956F4486D45D}">
      <dsp:nvSpPr>
        <dsp:cNvPr id="0" name=""/>
        <dsp:cNvSpPr/>
      </dsp:nvSpPr>
      <dsp:spPr>
        <a:xfrm>
          <a:off x="3412231" y="1026551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VLT</a:t>
          </a:r>
          <a:endParaRPr 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412231" y="1026551"/>
        <a:ext cx="619744" cy="371846"/>
      </dsp:txXfrm>
    </dsp:sp>
    <dsp:sp modelId="{7AF23E7A-F6EE-4C99-A5F9-FD696827A42A}">
      <dsp:nvSpPr>
        <dsp:cNvPr id="0" name=""/>
        <dsp:cNvSpPr/>
      </dsp:nvSpPr>
      <dsp:spPr>
        <a:xfrm>
          <a:off x="4093950" y="1026551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合同管理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093950" y="1026551"/>
        <a:ext cx="619744" cy="371846"/>
      </dsp:txXfrm>
    </dsp:sp>
    <dsp:sp modelId="{D6017FAB-2C9B-4615-B991-D6FB6A7C4A07}">
      <dsp:nvSpPr>
        <dsp:cNvPr id="0" name=""/>
        <dsp:cNvSpPr/>
      </dsp:nvSpPr>
      <dsp:spPr>
        <a:xfrm>
          <a:off x="4775670" y="1026551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WMS2.0</a:t>
          </a:r>
          <a:endParaRPr 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775670" y="1026551"/>
        <a:ext cx="619744" cy="371846"/>
      </dsp:txXfrm>
    </dsp:sp>
    <dsp:sp modelId="{804BF373-3C78-4BC5-9E76-B0986F9701E6}">
      <dsp:nvSpPr>
        <dsp:cNvPr id="0" name=""/>
        <dsp:cNvSpPr/>
      </dsp:nvSpPr>
      <dsp:spPr>
        <a:xfrm>
          <a:off x="5457389" y="1026551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青龙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457389" y="1026551"/>
        <a:ext cx="619744" cy="371846"/>
      </dsp:txXfrm>
    </dsp:sp>
    <dsp:sp modelId="{BAB27F6B-5B2B-4812-A6C6-7CB33B67628E}">
      <dsp:nvSpPr>
        <dsp:cNvPr id="0" name=""/>
        <dsp:cNvSpPr/>
      </dsp:nvSpPr>
      <dsp:spPr>
        <a:xfrm>
          <a:off x="6139108" y="1026551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DMS</a:t>
          </a:r>
          <a:endParaRPr 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139108" y="1026551"/>
        <a:ext cx="619744" cy="371846"/>
      </dsp:txXfrm>
    </dsp:sp>
    <dsp:sp modelId="{E137E5AF-5AFF-4025-A64A-1BA589780711}">
      <dsp:nvSpPr>
        <dsp:cNvPr id="0" name=""/>
        <dsp:cNvSpPr/>
      </dsp:nvSpPr>
      <dsp:spPr>
        <a:xfrm>
          <a:off x="6820828" y="1026551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TMS</a:t>
          </a:r>
          <a:endParaRPr 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20828" y="1026551"/>
        <a:ext cx="619744" cy="371846"/>
      </dsp:txXfrm>
    </dsp:sp>
    <dsp:sp modelId="{A0B49FD6-020E-4BF3-B56C-5D6C9DE79766}">
      <dsp:nvSpPr>
        <dsp:cNvPr id="0" name=""/>
        <dsp:cNvSpPr/>
      </dsp:nvSpPr>
      <dsp:spPr>
        <a:xfrm>
          <a:off x="3634" y="1460372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上海无线</a:t>
          </a:r>
          <a:endParaRPr 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634" y="1460372"/>
        <a:ext cx="619744" cy="371846"/>
      </dsp:txXfrm>
    </dsp:sp>
    <dsp:sp modelId="{519C650D-3E97-401F-9D3D-6AEDD1E2CE62}">
      <dsp:nvSpPr>
        <dsp:cNvPr id="0" name=""/>
        <dsp:cNvSpPr/>
      </dsp:nvSpPr>
      <dsp:spPr>
        <a:xfrm>
          <a:off x="685354" y="1460372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交易</a:t>
          </a:r>
          <a:r>
            <a:rPr lang="zh-CN" altLang="en-US" sz="1000" b="0" i="0" u="none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客户端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5354" y="1460372"/>
        <a:ext cx="619744" cy="371846"/>
      </dsp:txXfrm>
    </dsp:sp>
    <dsp:sp modelId="{C2F58A17-C76C-4D0C-ADFA-D1DC783DC624}">
      <dsp:nvSpPr>
        <dsp:cNvPr id="0" name=""/>
        <dsp:cNvSpPr/>
      </dsp:nvSpPr>
      <dsp:spPr>
        <a:xfrm>
          <a:off x="1367073" y="1460372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搜索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367073" y="1460372"/>
        <a:ext cx="619744" cy="371846"/>
      </dsp:txXfrm>
    </dsp:sp>
    <dsp:sp modelId="{93578731-42D6-4736-A10B-C3A51B505782}">
      <dsp:nvSpPr>
        <dsp:cNvPr id="0" name=""/>
        <dsp:cNvSpPr/>
      </dsp:nvSpPr>
      <dsp:spPr>
        <a:xfrm>
          <a:off x="2048792" y="1460372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CRM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048792" y="1460372"/>
        <a:ext cx="619744" cy="371846"/>
      </dsp:txXfrm>
    </dsp:sp>
    <dsp:sp modelId="{255627A4-EDA2-4D4D-A467-2BA799157B1B}">
      <dsp:nvSpPr>
        <dsp:cNvPr id="0" name=""/>
        <dsp:cNvSpPr/>
      </dsp:nvSpPr>
      <dsp:spPr>
        <a:xfrm>
          <a:off x="2730512" y="1460372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问卷外呼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730512" y="1460372"/>
        <a:ext cx="619744" cy="371846"/>
      </dsp:txXfrm>
    </dsp:sp>
    <dsp:sp modelId="{3F36FE41-6C84-4630-B10B-677FB06D0B7A}">
      <dsp:nvSpPr>
        <dsp:cNvPr id="0" name=""/>
        <dsp:cNvSpPr/>
      </dsp:nvSpPr>
      <dsp:spPr>
        <a:xfrm>
          <a:off x="3412231" y="1460372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知识库项目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412231" y="1460372"/>
        <a:ext cx="619744" cy="371846"/>
      </dsp:txXfrm>
    </dsp:sp>
    <dsp:sp modelId="{002CD0FE-0177-4089-A9E4-409FE1738210}">
      <dsp:nvSpPr>
        <dsp:cNvPr id="0" name=""/>
        <dsp:cNvSpPr/>
      </dsp:nvSpPr>
      <dsp:spPr>
        <a:xfrm>
          <a:off x="4093950" y="1460372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客服工单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093950" y="1460372"/>
        <a:ext cx="619744" cy="371846"/>
      </dsp:txXfrm>
    </dsp:sp>
    <dsp:sp modelId="{902A21AC-34E1-45DE-BE41-E2BA06AD006A}">
      <dsp:nvSpPr>
        <dsp:cNvPr id="0" name=""/>
        <dsp:cNvSpPr/>
      </dsp:nvSpPr>
      <dsp:spPr>
        <a:xfrm>
          <a:off x="4775670" y="1460372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775670" y="1460372"/>
        <a:ext cx="619744" cy="371846"/>
      </dsp:txXfrm>
    </dsp:sp>
    <dsp:sp modelId="{92426E81-0C41-432F-B0A2-6096EBCF8A79}">
      <dsp:nvSpPr>
        <dsp:cNvPr id="0" name=""/>
        <dsp:cNvSpPr/>
      </dsp:nvSpPr>
      <dsp:spPr>
        <a:xfrm>
          <a:off x="5457389" y="1460372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服务平台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457389" y="1460372"/>
        <a:ext cx="619744" cy="371846"/>
      </dsp:txXfrm>
    </dsp:sp>
    <dsp:sp modelId="{77D7529E-3302-40E1-9807-44BF108E2C4F}">
      <dsp:nvSpPr>
        <dsp:cNvPr id="0" name=""/>
        <dsp:cNvSpPr/>
      </dsp:nvSpPr>
      <dsp:spPr>
        <a:xfrm>
          <a:off x="6139108" y="1460372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赔付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139108" y="1460372"/>
        <a:ext cx="619744" cy="371846"/>
      </dsp:txXfrm>
    </dsp:sp>
    <dsp:sp modelId="{EE0FD172-3BE1-4E3A-8782-ABFDE7250B5A}">
      <dsp:nvSpPr>
        <dsp:cNvPr id="0" name=""/>
        <dsp:cNvSpPr/>
      </dsp:nvSpPr>
      <dsp:spPr>
        <a:xfrm>
          <a:off x="6820828" y="1460372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备件库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20828" y="1460372"/>
        <a:ext cx="619744" cy="371846"/>
      </dsp:txXfrm>
    </dsp:sp>
    <dsp:sp modelId="{28E8893B-F9B9-4275-B47D-A8D8F422C92E}">
      <dsp:nvSpPr>
        <dsp:cNvPr id="0" name=""/>
        <dsp:cNvSpPr/>
      </dsp:nvSpPr>
      <dsp:spPr>
        <a:xfrm>
          <a:off x="3634" y="1894194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备件库销售平台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634" y="1894194"/>
        <a:ext cx="619744" cy="371846"/>
      </dsp:txXfrm>
    </dsp:sp>
    <dsp:sp modelId="{05455A62-2898-4F96-B0BA-9A872DE8DDC6}">
      <dsp:nvSpPr>
        <dsp:cNvPr id="0" name=""/>
        <dsp:cNvSpPr/>
      </dsp:nvSpPr>
      <dsp:spPr>
        <a:xfrm>
          <a:off x="685354" y="1894194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推荐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5354" y="1894194"/>
        <a:ext cx="619744" cy="371846"/>
      </dsp:txXfrm>
    </dsp:sp>
    <dsp:sp modelId="{2261CCFE-A284-4272-8407-343CA4BE394C}">
      <dsp:nvSpPr>
        <dsp:cNvPr id="0" name=""/>
        <dsp:cNvSpPr/>
      </dsp:nvSpPr>
      <dsp:spPr>
        <a:xfrm>
          <a:off x="1367073" y="1894194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订单退款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367073" y="1894194"/>
        <a:ext cx="619744" cy="371846"/>
      </dsp:txXfrm>
    </dsp:sp>
    <dsp:sp modelId="{8B6CEF29-EF58-464D-9117-DC442F09A51C}">
      <dsp:nvSpPr>
        <dsp:cNvPr id="0" name=""/>
        <dsp:cNvSpPr/>
      </dsp:nvSpPr>
      <dsp:spPr>
        <a:xfrm>
          <a:off x="2048792" y="1894194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售后退款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048792" y="1894194"/>
        <a:ext cx="619744" cy="371846"/>
      </dsp:txXfrm>
    </dsp:sp>
    <dsp:sp modelId="{F87F99DB-2FC0-45B3-BDF7-A807A588167C}">
      <dsp:nvSpPr>
        <dsp:cNvPr id="0" name=""/>
        <dsp:cNvSpPr/>
      </dsp:nvSpPr>
      <dsp:spPr>
        <a:xfrm>
          <a:off x="2730512" y="1894194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余额返卡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730512" y="1894194"/>
        <a:ext cx="619744" cy="371846"/>
      </dsp:txXfrm>
    </dsp:sp>
    <dsp:sp modelId="{7C2178F5-90E9-4F22-B5E8-41C24685EC1B}">
      <dsp:nvSpPr>
        <dsp:cNvPr id="0" name=""/>
        <dsp:cNvSpPr/>
      </dsp:nvSpPr>
      <dsp:spPr>
        <a:xfrm>
          <a:off x="3412231" y="1894194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彩票派奖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412231" y="1894194"/>
        <a:ext cx="619744" cy="371846"/>
      </dsp:txXfrm>
    </dsp:sp>
    <dsp:sp modelId="{C0C7865B-E583-40C1-9B33-BD4C70004E3E}">
      <dsp:nvSpPr>
        <dsp:cNvPr id="0" name=""/>
        <dsp:cNvSpPr/>
      </dsp:nvSpPr>
      <dsp:spPr>
        <a:xfrm>
          <a:off x="4093950" y="1894194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退款</a:t>
          </a:r>
          <a:r>
            <a:rPr lang="en-US" altLang="zh-CN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100</a:t>
          </a: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分监控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093950" y="1894194"/>
        <a:ext cx="619744" cy="371846"/>
      </dsp:txXfrm>
    </dsp:sp>
    <dsp:sp modelId="{90233CE6-30F6-4239-9E76-55F01F814358}">
      <dsp:nvSpPr>
        <dsp:cNvPr id="0" name=""/>
        <dsp:cNvSpPr/>
      </dsp:nvSpPr>
      <dsp:spPr>
        <a:xfrm>
          <a:off x="4775670" y="1894194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备查款项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775670" y="1894194"/>
        <a:ext cx="619744" cy="371846"/>
      </dsp:txXfrm>
    </dsp:sp>
    <dsp:sp modelId="{53CEEE27-3DA6-480B-8313-294681CB03C8}">
      <dsp:nvSpPr>
        <dsp:cNvPr id="0" name=""/>
        <dsp:cNvSpPr/>
      </dsp:nvSpPr>
      <dsp:spPr>
        <a:xfrm>
          <a:off x="5457389" y="1894194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商品税率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457389" y="1894194"/>
        <a:ext cx="619744" cy="371846"/>
      </dsp:txXfrm>
    </dsp:sp>
    <dsp:sp modelId="{75B7379C-AB87-4014-B9F9-4866F54E9B5C}">
      <dsp:nvSpPr>
        <dsp:cNvPr id="0" name=""/>
        <dsp:cNvSpPr/>
      </dsp:nvSpPr>
      <dsp:spPr>
        <a:xfrm>
          <a:off x="6139108" y="1894194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仓报价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139108" y="1894194"/>
        <a:ext cx="619744" cy="371846"/>
      </dsp:txXfrm>
    </dsp:sp>
    <dsp:sp modelId="{58083885-4732-4575-B53E-26B955EFEDDA}">
      <dsp:nvSpPr>
        <dsp:cNvPr id="0" name=""/>
        <dsp:cNvSpPr/>
      </dsp:nvSpPr>
      <dsp:spPr>
        <a:xfrm>
          <a:off x="6820828" y="1894194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财务报表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20828" y="1894194"/>
        <a:ext cx="619744" cy="371846"/>
      </dsp:txXfrm>
    </dsp:sp>
    <dsp:sp modelId="{891CBF20-3E4B-4FB4-9DA7-8F3AE5F50CBC}">
      <dsp:nvSpPr>
        <dsp:cNvPr id="0" name=""/>
        <dsp:cNvSpPr/>
      </dsp:nvSpPr>
      <dsp:spPr>
        <a:xfrm>
          <a:off x="3634" y="2328015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礼品卡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634" y="2328015"/>
        <a:ext cx="619744" cy="371846"/>
      </dsp:txXfrm>
    </dsp:sp>
    <dsp:sp modelId="{DD33002E-D745-4E84-AA18-95B9E9D9EC1D}">
      <dsp:nvSpPr>
        <dsp:cNvPr id="0" name=""/>
        <dsp:cNvSpPr/>
      </dsp:nvSpPr>
      <dsp:spPr>
        <a:xfrm>
          <a:off x="685354" y="2328015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库存结转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5354" y="2328015"/>
        <a:ext cx="619744" cy="371846"/>
      </dsp:txXfrm>
    </dsp:sp>
    <dsp:sp modelId="{7FF3D7EF-F952-4BC0-A7EF-C063146300A6}">
      <dsp:nvSpPr>
        <dsp:cNvPr id="0" name=""/>
        <dsp:cNvSpPr/>
      </dsp:nvSpPr>
      <dsp:spPr>
        <a:xfrm>
          <a:off x="1367073" y="2328015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机构仓库接口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367073" y="2328015"/>
        <a:ext cx="619744" cy="371846"/>
      </dsp:txXfrm>
    </dsp:sp>
    <dsp:sp modelId="{FAEDC185-DCFF-4DE9-94F6-3E3762D8C482}">
      <dsp:nvSpPr>
        <dsp:cNvPr id="0" name=""/>
        <dsp:cNvSpPr/>
      </dsp:nvSpPr>
      <dsp:spPr>
        <a:xfrm>
          <a:off x="2048792" y="2328015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优惠券权责统计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048792" y="2328015"/>
        <a:ext cx="619744" cy="371846"/>
      </dsp:txXfrm>
    </dsp:sp>
    <dsp:sp modelId="{5F0E534D-14C6-4B44-A691-9748D7F04C17}">
      <dsp:nvSpPr>
        <dsp:cNvPr id="0" name=""/>
        <dsp:cNvSpPr/>
      </dsp:nvSpPr>
      <dsp:spPr>
        <a:xfrm>
          <a:off x="2730512" y="2328015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电子书结算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730512" y="2328015"/>
        <a:ext cx="619744" cy="371846"/>
      </dsp:txXfrm>
    </dsp:sp>
    <dsp:sp modelId="{CCDA8EE7-AFDD-4DA4-8F16-6F99816972CC}">
      <dsp:nvSpPr>
        <dsp:cNvPr id="0" name=""/>
        <dsp:cNvSpPr/>
      </dsp:nvSpPr>
      <dsp:spPr>
        <a:xfrm>
          <a:off x="3412231" y="2328015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计费中心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412231" y="2328015"/>
        <a:ext cx="619744" cy="371846"/>
      </dsp:txXfrm>
    </dsp:sp>
    <dsp:sp modelId="{5C4A7C30-28E5-4543-A123-AD3F64FA5332}">
      <dsp:nvSpPr>
        <dsp:cNvPr id="0" name=""/>
        <dsp:cNvSpPr/>
      </dsp:nvSpPr>
      <dsp:spPr>
        <a:xfrm>
          <a:off x="4093950" y="2328015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vendor</a:t>
          </a: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端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093950" y="2328015"/>
        <a:ext cx="619744" cy="371846"/>
      </dsp:txXfrm>
    </dsp:sp>
    <dsp:sp modelId="{D191C00A-FE01-4423-9F8F-1945D911C238}">
      <dsp:nvSpPr>
        <dsp:cNvPr id="0" name=""/>
        <dsp:cNvSpPr/>
      </dsp:nvSpPr>
      <dsp:spPr>
        <a:xfrm>
          <a:off x="4775670" y="2328015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API</a:t>
          </a:r>
          <a:endParaRPr 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775670" y="2328015"/>
        <a:ext cx="619744" cy="371846"/>
      </dsp:txXfrm>
    </dsp:sp>
    <dsp:sp modelId="{9603DF31-ADB8-4CDA-9DD7-6A504A80492C}">
      <dsp:nvSpPr>
        <dsp:cNvPr id="0" name=""/>
        <dsp:cNvSpPr/>
      </dsp:nvSpPr>
      <dsp:spPr>
        <a:xfrm>
          <a:off x="5457389" y="2328015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pos</a:t>
          </a: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直连第三方配送接口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457389" y="2328015"/>
        <a:ext cx="619744" cy="371846"/>
      </dsp:txXfrm>
    </dsp:sp>
    <dsp:sp modelId="{C6CB29D8-B209-4F6E-B7A0-917627718500}">
      <dsp:nvSpPr>
        <dsp:cNvPr id="0" name=""/>
        <dsp:cNvSpPr/>
      </dsp:nvSpPr>
      <dsp:spPr>
        <a:xfrm>
          <a:off x="6139108" y="2328015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团购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139108" y="2328015"/>
        <a:ext cx="619744" cy="371846"/>
      </dsp:txXfrm>
    </dsp:sp>
    <dsp:sp modelId="{8A8863A0-D74C-4318-8FBB-984319E6EBE2}">
      <dsp:nvSpPr>
        <dsp:cNvPr id="0" name=""/>
        <dsp:cNvSpPr/>
      </dsp:nvSpPr>
      <dsp:spPr>
        <a:xfrm>
          <a:off x="6820828" y="2328015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充值</a:t>
          </a:r>
          <a:r>
            <a:rPr lang="en-US" altLang="zh-CN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/</a:t>
          </a: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票务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20828" y="2328015"/>
        <a:ext cx="619744" cy="371846"/>
      </dsp:txXfrm>
    </dsp:sp>
    <dsp:sp modelId="{3269CE9E-EFD2-43B0-B32F-7EB53A69DB26}">
      <dsp:nvSpPr>
        <dsp:cNvPr id="0" name=""/>
        <dsp:cNvSpPr/>
      </dsp:nvSpPr>
      <dsp:spPr>
        <a:xfrm>
          <a:off x="3634" y="2761837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旅游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634" y="2761837"/>
        <a:ext cx="619744" cy="371846"/>
      </dsp:txXfrm>
    </dsp:sp>
    <dsp:sp modelId="{C3530B4A-E9A3-4ADF-80E2-D9C32D5DAF9D}">
      <dsp:nvSpPr>
        <dsp:cNvPr id="0" name=""/>
        <dsp:cNvSpPr/>
      </dsp:nvSpPr>
      <dsp:spPr>
        <a:xfrm>
          <a:off x="685354" y="2761837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机票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5354" y="2761837"/>
        <a:ext cx="619744" cy="371846"/>
      </dsp:txXfrm>
    </dsp:sp>
    <dsp:sp modelId="{04D6F666-D0A9-4B9C-8F07-F9FE3A3325C0}">
      <dsp:nvSpPr>
        <dsp:cNvPr id="0" name=""/>
        <dsp:cNvSpPr/>
      </dsp:nvSpPr>
      <dsp:spPr>
        <a:xfrm>
          <a:off x="1367073" y="2761837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火车票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367073" y="2761837"/>
        <a:ext cx="619744" cy="371846"/>
      </dsp:txXfrm>
    </dsp:sp>
    <dsp:sp modelId="{B0E95EF1-21FE-4D47-B7FC-1DD2D413A441}">
      <dsp:nvSpPr>
        <dsp:cNvPr id="0" name=""/>
        <dsp:cNvSpPr/>
      </dsp:nvSpPr>
      <dsp:spPr>
        <a:xfrm>
          <a:off x="2048792" y="2761837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man</a:t>
          </a: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端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048792" y="2761837"/>
        <a:ext cx="619744" cy="371846"/>
      </dsp:txXfrm>
    </dsp:sp>
    <dsp:sp modelId="{1DAA0598-B2B5-4117-8883-DCBDF1B93192}">
      <dsp:nvSpPr>
        <dsp:cNvPr id="0" name=""/>
        <dsp:cNvSpPr/>
      </dsp:nvSpPr>
      <dsp:spPr>
        <a:xfrm>
          <a:off x="2730512" y="2761837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金融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730512" y="2761837"/>
        <a:ext cx="619744" cy="371846"/>
      </dsp:txXfrm>
    </dsp:sp>
    <dsp:sp modelId="{DDB7036E-77FB-4F9A-89B3-FD474FD45368}">
      <dsp:nvSpPr>
        <dsp:cNvPr id="0" name=""/>
        <dsp:cNvSpPr/>
      </dsp:nvSpPr>
      <dsp:spPr>
        <a:xfrm>
          <a:off x="3412231" y="2761837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在线试读与网关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412231" y="2761837"/>
        <a:ext cx="619744" cy="371846"/>
      </dsp:txXfrm>
    </dsp:sp>
    <dsp:sp modelId="{208D80A4-DD84-4377-AE14-776FAAE69D90}">
      <dsp:nvSpPr>
        <dsp:cNvPr id="0" name=""/>
        <dsp:cNvSpPr/>
      </dsp:nvSpPr>
      <dsp:spPr>
        <a:xfrm>
          <a:off x="4093950" y="2761837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商品管理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093950" y="2761837"/>
        <a:ext cx="619744" cy="371846"/>
      </dsp:txXfrm>
    </dsp:sp>
    <dsp:sp modelId="{3E2C9903-DC8B-4A21-972B-A1D9AF11AA85}">
      <dsp:nvSpPr>
        <dsp:cNvPr id="0" name=""/>
        <dsp:cNvSpPr/>
      </dsp:nvSpPr>
      <dsp:spPr>
        <a:xfrm>
          <a:off x="4775670" y="2761837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联盟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775670" y="2761837"/>
        <a:ext cx="619744" cy="371846"/>
      </dsp:txXfrm>
    </dsp:sp>
    <dsp:sp modelId="{35499E8B-7D0D-40A6-AE8D-CBC9354E052F}">
      <dsp:nvSpPr>
        <dsp:cNvPr id="0" name=""/>
        <dsp:cNvSpPr/>
      </dsp:nvSpPr>
      <dsp:spPr>
        <a:xfrm>
          <a:off x="5457389" y="2761837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运营商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457389" y="2761837"/>
        <a:ext cx="619744" cy="371846"/>
      </dsp:txXfrm>
    </dsp:sp>
    <dsp:sp modelId="{13799D8C-AFF7-4709-86C4-4999C8592442}">
      <dsp:nvSpPr>
        <dsp:cNvPr id="0" name=""/>
        <dsp:cNvSpPr/>
      </dsp:nvSpPr>
      <dsp:spPr>
        <a:xfrm>
          <a:off x="6139108" y="2761837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订单交易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139108" y="2761837"/>
        <a:ext cx="619744" cy="371846"/>
      </dsp:txXfrm>
    </dsp:sp>
    <dsp:sp modelId="{4BD34EB2-7931-4BF4-BD16-CA859A830882}">
      <dsp:nvSpPr>
        <dsp:cNvPr id="0" name=""/>
        <dsp:cNvSpPr/>
      </dsp:nvSpPr>
      <dsp:spPr>
        <a:xfrm>
          <a:off x="6820828" y="2761837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订单支付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20828" y="2761837"/>
        <a:ext cx="619744" cy="371846"/>
      </dsp:txXfrm>
    </dsp:sp>
    <dsp:sp modelId="{E0B1CC61-816A-4C77-90DB-BB2629320276}">
      <dsp:nvSpPr>
        <dsp:cNvPr id="0" name=""/>
        <dsp:cNvSpPr/>
      </dsp:nvSpPr>
      <dsp:spPr>
        <a:xfrm>
          <a:off x="3634" y="319565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拍拍</a:t>
          </a:r>
          <a:endParaRPr lang="en-US" altLang="zh-CN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634" y="3195658"/>
        <a:ext cx="619744" cy="371846"/>
      </dsp:txXfrm>
    </dsp:sp>
    <dsp:sp modelId="{CAF53750-8D6D-40C8-B8F1-B110105DC818}">
      <dsp:nvSpPr>
        <dsp:cNvPr id="0" name=""/>
        <dsp:cNvSpPr/>
      </dsp:nvSpPr>
      <dsp:spPr>
        <a:xfrm>
          <a:off x="685354" y="319565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余额</a:t>
          </a:r>
          <a:endParaRPr lang="en-US" altLang="zh-CN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5354" y="3195658"/>
        <a:ext cx="619744" cy="371846"/>
      </dsp:txXfrm>
    </dsp:sp>
    <dsp:sp modelId="{052E8E50-79D6-492E-8C20-0AAEB5148879}">
      <dsp:nvSpPr>
        <dsp:cNvPr id="0" name=""/>
        <dsp:cNvSpPr/>
      </dsp:nvSpPr>
      <dsp:spPr>
        <a:xfrm>
          <a:off x="1367073" y="319565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积分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367073" y="3195658"/>
        <a:ext cx="619744" cy="371846"/>
      </dsp:txXfrm>
    </dsp:sp>
    <dsp:sp modelId="{B13ED376-2A69-4C5B-A5B1-C2D47D86D8F5}">
      <dsp:nvSpPr>
        <dsp:cNvPr id="0" name=""/>
        <dsp:cNvSpPr/>
      </dsp:nvSpPr>
      <dsp:spPr>
        <a:xfrm>
          <a:off x="2048792" y="319565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用户级别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048792" y="3195658"/>
        <a:ext cx="619744" cy="371846"/>
      </dsp:txXfrm>
    </dsp:sp>
    <dsp:sp modelId="{ABE6EA04-F862-4AA3-B6F1-EB9E0C1561CE}">
      <dsp:nvSpPr>
        <dsp:cNvPr id="0" name=""/>
        <dsp:cNvSpPr/>
      </dsp:nvSpPr>
      <dsp:spPr>
        <a:xfrm>
          <a:off x="2730512" y="319565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订单履约中间件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730512" y="3195658"/>
        <a:ext cx="619744" cy="371846"/>
      </dsp:txXfrm>
    </dsp:sp>
    <dsp:sp modelId="{280ABEB8-4241-4BD2-8D21-66E078E45823}">
      <dsp:nvSpPr>
        <dsp:cNvPr id="0" name=""/>
        <dsp:cNvSpPr/>
      </dsp:nvSpPr>
      <dsp:spPr>
        <a:xfrm>
          <a:off x="3412231" y="319565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非订单履约中间件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412231" y="3195658"/>
        <a:ext cx="619744" cy="371846"/>
      </dsp:txXfrm>
    </dsp:sp>
    <dsp:sp modelId="{04D77BB8-4965-4D42-BA99-013A0579EE85}">
      <dsp:nvSpPr>
        <dsp:cNvPr id="0" name=""/>
        <dsp:cNvSpPr/>
      </dsp:nvSpPr>
      <dsp:spPr>
        <a:xfrm>
          <a:off x="4093950" y="319565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内配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093950" y="3195658"/>
        <a:ext cx="619744" cy="371846"/>
      </dsp:txXfrm>
    </dsp:sp>
    <dsp:sp modelId="{84BF44F1-0789-428A-A295-001C0CE340F6}">
      <dsp:nvSpPr>
        <dsp:cNvPr id="0" name=""/>
        <dsp:cNvSpPr/>
      </dsp:nvSpPr>
      <dsp:spPr>
        <a:xfrm>
          <a:off x="4775670" y="319565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自动补货</a:t>
          </a:r>
          <a:endParaRPr lang="zh-CN" altLang="en-US" sz="1000" kern="120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775670" y="3195658"/>
        <a:ext cx="619744" cy="371846"/>
      </dsp:txXfrm>
    </dsp:sp>
    <dsp:sp modelId="{3135B7FD-56B2-490B-9FB5-2A970B285206}">
      <dsp:nvSpPr>
        <dsp:cNvPr id="0" name=""/>
        <dsp:cNvSpPr/>
      </dsp:nvSpPr>
      <dsp:spPr>
        <a:xfrm>
          <a:off x="5457389" y="319565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b="0" i="0" u="none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销量预测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457389" y="3195658"/>
        <a:ext cx="619744" cy="371846"/>
      </dsp:txXfrm>
    </dsp:sp>
    <dsp:sp modelId="{9E486785-6256-4EDC-9814-42D18FD59030}">
      <dsp:nvSpPr>
        <dsp:cNvPr id="0" name=""/>
        <dsp:cNvSpPr/>
      </dsp:nvSpPr>
      <dsp:spPr>
        <a:xfrm>
          <a:off x="6139108" y="319565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…</a:t>
          </a:r>
          <a:endParaRPr 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139108" y="3195658"/>
        <a:ext cx="619744" cy="371846"/>
      </dsp:txXfrm>
    </dsp:sp>
    <dsp:sp modelId="{1C59D157-B449-4E93-95A4-B5B249CBFF91}">
      <dsp:nvSpPr>
        <dsp:cNvPr id="0" name=""/>
        <dsp:cNvSpPr/>
      </dsp:nvSpPr>
      <dsp:spPr>
        <a:xfrm>
          <a:off x="6820828" y="3195658"/>
          <a:ext cx="619744" cy="3718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kern="12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…</a:t>
          </a:r>
          <a:endParaRPr lang="zh-CN" altLang="en-US" sz="1000" kern="120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6820828" y="3195658"/>
        <a:ext cx="619744" cy="3718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4/9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36443578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122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ED941B2-AB7D-4452-A6C3-E18CD8D6AA77}" type="slidenum">
              <a:rPr lang="zh-CN" altLang="en-US" smtClean="0"/>
              <a:pPr/>
              <a:t>10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19569477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122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ED941B2-AB7D-4452-A6C3-E18CD8D6AA77}" type="slidenum">
              <a:rPr lang="zh-CN" altLang="en-US" smtClean="0"/>
              <a:pPr/>
              <a:t>11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30149351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122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ED941B2-AB7D-4452-A6C3-E18CD8D6AA77}" type="slidenum">
              <a:rPr lang="zh-CN" altLang="en-US" smtClean="0"/>
              <a:pPr/>
              <a:t>12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15459873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122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ED941B2-AB7D-4452-A6C3-E18CD8D6AA77}" type="slidenum">
              <a:rPr lang="zh-CN" altLang="en-US" smtClean="0"/>
              <a:pPr/>
              <a:t>13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7711258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2781594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8196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D9FE342-AAF8-49A3-A98E-F95F6ADEBB56}" type="slidenum">
              <a:rPr lang="zh-CN" altLang="en-US" smtClean="0"/>
              <a:pPr/>
              <a:t>2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13478050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1024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E5032128-0266-4A30-8E86-982A475339C6}" type="slidenum">
              <a:rPr lang="zh-CN" altLang="en-US" smtClean="0"/>
              <a:pPr/>
              <a:t>3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569187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82985E-30A6-4712-B487-E416728E1D42}" type="slidenum">
              <a:rPr lang="zh-CN" altLang="en-US" smtClean="0">
                <a:solidFill>
                  <a:prstClr val="black"/>
                </a:solidFill>
              </a:rPr>
              <a:pPr/>
              <a:t>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5096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122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ED941B2-AB7D-4452-A6C3-E18CD8D6AA77}" type="slidenum">
              <a:rPr lang="zh-CN" altLang="en-US" smtClean="0"/>
              <a:pPr/>
              <a:t>5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40684091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122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ED941B2-AB7D-4452-A6C3-E18CD8D6AA77}" type="slidenum">
              <a:rPr lang="zh-CN" altLang="en-US" smtClean="0"/>
              <a:pPr/>
              <a:t>6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638618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122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ED941B2-AB7D-4452-A6C3-E18CD8D6AA77}" type="slidenum">
              <a:rPr lang="zh-CN" altLang="en-US" smtClean="0"/>
              <a:pPr/>
              <a:t>7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9409983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122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ED941B2-AB7D-4452-A6C3-E18CD8D6AA77}" type="slidenum">
              <a:rPr lang="zh-CN" altLang="en-US" smtClean="0"/>
              <a:pPr/>
              <a:t>8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29547905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  <p:sp>
        <p:nvSpPr>
          <p:cNvPr id="122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ED941B2-AB7D-4452-A6C3-E18CD8D6AA77}" type="slidenum">
              <a:rPr lang="zh-CN" altLang="en-US" smtClean="0"/>
              <a:pPr/>
              <a:t>9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4152049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13" y="-9525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40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8849" y="2118573"/>
            <a:ext cx="8267607" cy="95153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ctr">
              <a:defRPr sz="3600" b="1" baseline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/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536" y="3127715"/>
            <a:ext cx="8267607" cy="53813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添加副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6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685" r:id="rId9"/>
    <p:sldLayoutId id="2147483686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342900" indent="-342900"/>
            <a:r>
              <a:rPr lang="zh-CN" altLang="en-US" dirty="0" smtClean="0">
                <a:latin typeface="+mj-ea"/>
                <a:ea typeface="+mj-ea"/>
              </a:rPr>
              <a:t>京东大数据平台数据仓库</a:t>
            </a:r>
            <a:r>
              <a:rPr lang="en-US" altLang="zh-CN" dirty="0" smtClean="0">
                <a:latin typeface="+mj-ea"/>
                <a:ea typeface="+mj-ea"/>
              </a:rPr>
              <a:t>JDW</a:t>
            </a:r>
            <a:endParaRPr lang="zh-CN" altLang="en-US" sz="3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3315" name="副标题 4"/>
          <p:cNvSpPr>
            <a:spLocks noGrp="1"/>
          </p:cNvSpPr>
          <p:nvPr>
            <p:ph type="subTitle" idx="1"/>
          </p:nvPr>
        </p:nvSpPr>
        <p:spPr>
          <a:xfrm>
            <a:off x="395536" y="3127715"/>
            <a:ext cx="8267607" cy="1021365"/>
          </a:xfrm>
        </p:spPr>
        <p:txBody>
          <a:bodyPr>
            <a:noAutofit/>
          </a:bodyPr>
          <a:lstStyle/>
          <a:p>
            <a:r>
              <a:rPr lang="zh-CN" altLang="en-US" sz="1800" dirty="0">
                <a:latin typeface="+mj-ea"/>
                <a:ea typeface="+mj-ea"/>
              </a:rPr>
              <a:t>大</a:t>
            </a:r>
            <a:r>
              <a:rPr lang="zh-CN" altLang="en-US" sz="1800" dirty="0" smtClean="0">
                <a:latin typeface="+mj-ea"/>
                <a:ea typeface="+mj-ea"/>
              </a:rPr>
              <a:t>数据平台</a:t>
            </a:r>
            <a:r>
              <a:rPr lang="en-US" altLang="zh-CN" sz="1800" dirty="0" smtClean="0">
                <a:latin typeface="+mj-ea"/>
                <a:ea typeface="+mj-ea"/>
              </a:rPr>
              <a:t>-</a:t>
            </a:r>
            <a:r>
              <a:rPr lang="zh-CN" altLang="en-US" sz="1800" dirty="0">
                <a:latin typeface="+mj-ea"/>
                <a:ea typeface="+mj-ea"/>
              </a:rPr>
              <a:t>王建辉</a:t>
            </a:r>
            <a:endParaRPr lang="en-US" altLang="zh-CN" sz="1800" dirty="0" smtClean="0">
              <a:solidFill>
                <a:schemeClr val="bg1"/>
              </a:solidFill>
              <a:latin typeface="+mj-ea"/>
              <a:ea typeface="+mj-ea"/>
            </a:endParaRPr>
          </a:p>
          <a:p>
            <a:r>
              <a:rPr lang="en-US" altLang="zh-CN" sz="1800" dirty="0" smtClean="0">
                <a:solidFill>
                  <a:schemeClr val="bg1"/>
                </a:solidFill>
                <a:latin typeface="+mj-ea"/>
                <a:ea typeface="+mj-ea"/>
              </a:rPr>
              <a:t>2014</a:t>
            </a:r>
            <a:r>
              <a:rPr lang="en-US" altLang="zh-CN" sz="1800" dirty="0" smtClean="0">
                <a:latin typeface="+mj-ea"/>
                <a:ea typeface="+mj-ea"/>
              </a:rPr>
              <a:t>/9</a:t>
            </a:r>
            <a:endParaRPr lang="zh-CN" altLang="en-US" sz="18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68135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1277634" y="1970838"/>
            <a:ext cx="4111229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3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层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命名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则：</a:t>
            </a:r>
            <a:endParaRPr lang="zh-CN" altLang="en-US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2"/>
          <p:cNvSpPr>
            <a:spLocks noChangeArrowheads="1"/>
          </p:cNvSpPr>
          <p:nvPr/>
        </p:nvSpPr>
        <p:spPr bwMode="auto">
          <a:xfrm>
            <a:off x="1697925" y="2304213"/>
            <a:ext cx="5843588" cy="715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表名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= APP_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体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_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后缀</a:t>
            </a: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后缀：全量加工为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A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非全量考虑采用数据周期为后缀</a:t>
            </a: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2"/>
          <p:cNvSpPr>
            <a:spLocks noChangeArrowheads="1"/>
          </p:cNvSpPr>
          <p:nvPr/>
        </p:nvSpPr>
        <p:spPr bwMode="auto">
          <a:xfrm>
            <a:off x="1601670" y="3483006"/>
            <a:ext cx="5843588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送任务命名：</a:t>
            </a: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r>
              <a:rPr lang="zh-CN" altLang="zh-CN" sz="1350" dirty="0"/>
              <a:t>从</a:t>
            </a:r>
            <a:r>
              <a:rPr lang="en-US" altLang="zh-CN" sz="1350" dirty="0"/>
              <a:t>hive</a:t>
            </a:r>
            <a:r>
              <a:rPr lang="zh-CN" altLang="zh-CN" sz="1350" dirty="0"/>
              <a:t>推往</a:t>
            </a:r>
            <a:r>
              <a:rPr lang="en-US" altLang="zh-CN" sz="1350" dirty="0" err="1"/>
              <a:t>orcl</a:t>
            </a:r>
            <a:r>
              <a:rPr lang="zh-CN" altLang="zh-CN" sz="1350" dirty="0"/>
              <a:t>：</a:t>
            </a:r>
            <a:r>
              <a:rPr lang="en-US" altLang="zh-CN" sz="1350" dirty="0"/>
              <a:t>         hive2orcl_adm_s03_item_band_stat</a:t>
            </a:r>
            <a:endParaRPr lang="zh-CN" altLang="zh-CN" sz="1350" dirty="0"/>
          </a:p>
          <a:p>
            <a:pPr lvl="0"/>
            <a:r>
              <a:rPr lang="zh-CN" altLang="zh-CN" sz="1350" dirty="0"/>
              <a:t>从</a:t>
            </a:r>
            <a:r>
              <a:rPr lang="en-US" altLang="zh-CN" sz="1350" dirty="0"/>
              <a:t>hive</a:t>
            </a:r>
            <a:r>
              <a:rPr lang="zh-CN" altLang="zh-CN" sz="1350" dirty="0"/>
              <a:t>推往</a:t>
            </a:r>
            <a:r>
              <a:rPr lang="en-US" altLang="zh-CN" sz="1350" dirty="0" err="1"/>
              <a:t>mysql</a:t>
            </a:r>
            <a:r>
              <a:rPr lang="zh-CN" altLang="zh-CN" sz="1350" dirty="0"/>
              <a:t>：</a:t>
            </a:r>
            <a:r>
              <a:rPr lang="en-US" altLang="zh-CN" sz="1350" dirty="0"/>
              <a:t>     hive2mysql_adm_s03_item_band_stat</a:t>
            </a:r>
            <a:endParaRPr lang="zh-CN" altLang="zh-CN" sz="1350" dirty="0"/>
          </a:p>
          <a:p>
            <a:pPr lvl="0"/>
            <a:r>
              <a:rPr lang="zh-CN" altLang="zh-CN" sz="1350" dirty="0"/>
              <a:t>从</a:t>
            </a:r>
            <a:r>
              <a:rPr lang="en-US" altLang="zh-CN" sz="1350" dirty="0"/>
              <a:t>hive</a:t>
            </a:r>
            <a:r>
              <a:rPr lang="zh-CN" altLang="zh-CN" sz="1350" dirty="0"/>
              <a:t>推往</a:t>
            </a:r>
            <a:r>
              <a:rPr lang="en-US" altLang="zh-CN" sz="1350" dirty="0" err="1"/>
              <a:t>sqlserver</a:t>
            </a:r>
            <a:r>
              <a:rPr lang="zh-CN" altLang="zh-CN" sz="1350" dirty="0"/>
              <a:t>：</a:t>
            </a:r>
            <a:r>
              <a:rPr lang="en-US" altLang="zh-CN" sz="1350" dirty="0"/>
              <a:t>hive2sqlserver_adm_s03_item_band_stat</a:t>
            </a:r>
            <a:endParaRPr lang="zh-CN" altLang="zh-CN" sz="1350" dirty="0"/>
          </a:p>
          <a:p>
            <a:pPr lvl="0"/>
            <a:r>
              <a:rPr lang="zh-CN" altLang="zh-CN" sz="1350" dirty="0"/>
              <a:t>从</a:t>
            </a:r>
            <a:r>
              <a:rPr lang="en-US" altLang="zh-CN" sz="1350" dirty="0"/>
              <a:t>hive</a:t>
            </a:r>
            <a:r>
              <a:rPr lang="zh-CN" altLang="zh-CN" sz="1350" dirty="0"/>
              <a:t>推往</a:t>
            </a:r>
            <a:r>
              <a:rPr lang="en-US" altLang="zh-CN" sz="1350" dirty="0" err="1"/>
              <a:t>jss</a:t>
            </a:r>
            <a:r>
              <a:rPr lang="zh-CN" altLang="zh-CN" sz="1350" dirty="0"/>
              <a:t>：</a:t>
            </a:r>
            <a:r>
              <a:rPr lang="en-US" altLang="zh-CN" sz="1350" dirty="0"/>
              <a:t>          hive2jss_adm_s03_item_band_stat</a:t>
            </a:r>
            <a:endParaRPr lang="zh-CN" altLang="zh-CN" sz="1350" dirty="0"/>
          </a:p>
          <a:p>
            <a:pPr lvl="0"/>
            <a:r>
              <a:rPr lang="zh-CN" altLang="zh-CN" sz="1350" dirty="0"/>
              <a:t>从</a:t>
            </a:r>
            <a:r>
              <a:rPr lang="en-US" altLang="zh-CN" sz="1350" dirty="0"/>
              <a:t>hive</a:t>
            </a:r>
            <a:r>
              <a:rPr lang="zh-CN" altLang="zh-CN" sz="1350" dirty="0"/>
              <a:t>推往</a:t>
            </a:r>
            <a:r>
              <a:rPr lang="en-US" altLang="zh-CN" sz="1350" dirty="0"/>
              <a:t>hive</a:t>
            </a:r>
            <a:r>
              <a:rPr lang="zh-CN" altLang="zh-CN" sz="1350" dirty="0"/>
              <a:t>：</a:t>
            </a:r>
            <a:r>
              <a:rPr lang="en-US" altLang="zh-CN" sz="1350" dirty="0"/>
              <a:t>        hive2hive_adm_s03_item_band_stat</a:t>
            </a:r>
            <a:endParaRPr lang="zh-CN" altLang="zh-CN" sz="1350" dirty="0"/>
          </a:p>
        </p:txBody>
      </p:sp>
      <p:sp>
        <p:nvSpPr>
          <p:cNvPr id="7" name="文本框 11"/>
          <p:cNvSpPr txBox="1">
            <a:spLocks noChangeArrowheads="1"/>
          </p:cNvSpPr>
          <p:nvPr/>
        </p:nvSpPr>
        <p:spPr bwMode="auto">
          <a:xfrm>
            <a:off x="30704" y="3915054"/>
            <a:ext cx="110799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业务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京</a:t>
            </a:r>
            <a:r>
              <a:rPr lang="zh-CN" altLang="en-US" dirty="0"/>
              <a:t>东</a:t>
            </a:r>
            <a:r>
              <a:rPr lang="zh-CN" altLang="en-US" dirty="0" smtClean="0"/>
              <a:t>数据仓库规范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584702" y="1238431"/>
            <a:ext cx="1273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规范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02251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11"/>
          <p:cNvSpPr txBox="1">
            <a:spLocks noChangeArrowheads="1"/>
          </p:cNvSpPr>
          <p:nvPr/>
        </p:nvSpPr>
        <p:spPr bwMode="auto">
          <a:xfrm>
            <a:off x="30704" y="3915054"/>
            <a:ext cx="110799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业务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1" name="图示 10"/>
          <p:cNvGraphicFramePr/>
          <p:nvPr>
            <p:extLst>
              <p:ext uri="{D42A27DB-BD31-4B8C-83A1-F6EECF244321}">
                <p14:modId xmlns:p14="http://schemas.microsoft.com/office/powerpoint/2010/main" val="2140976536"/>
              </p:ext>
            </p:extLst>
          </p:nvPr>
        </p:nvGraphicFramePr>
        <p:xfrm>
          <a:off x="611560" y="1484784"/>
          <a:ext cx="7444208" cy="37264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27"/>
          <p:cNvSpPr txBox="1"/>
          <p:nvPr/>
        </p:nvSpPr>
        <p:spPr>
          <a:xfrm>
            <a:off x="683568" y="5445224"/>
            <a:ext cx="531921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zh-CN" altLang="en-US" sz="1350" dirty="0" smtClean="0">
                <a:latin typeface="微软雅黑" pitchFamily="34" charset="-122"/>
                <a:ea typeface="微软雅黑" pitchFamily="34" charset="-122"/>
              </a:rPr>
              <a:t>涉及京东商城、拍拍、金融集团、微信手</a:t>
            </a:r>
            <a:r>
              <a:rPr lang="en-US" altLang="zh-CN" sz="1350" dirty="0" smtClean="0">
                <a:latin typeface="微软雅黑" pitchFamily="34" charset="-122"/>
                <a:ea typeface="微软雅黑" pitchFamily="34" charset="-122"/>
              </a:rPr>
              <a:t>Q</a:t>
            </a:r>
            <a:r>
              <a:rPr lang="zh-CN" altLang="en-US" sz="1350" dirty="0" smtClean="0">
                <a:latin typeface="微软雅黑" pitchFamily="34" charset="-122"/>
                <a:ea typeface="微软雅黑" pitchFamily="34" charset="-122"/>
              </a:rPr>
              <a:t>、易讯等全集团数据</a:t>
            </a:r>
            <a:endParaRPr lang="zh-CN" altLang="en-US" sz="135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京</a:t>
            </a:r>
            <a:r>
              <a:rPr lang="zh-CN" altLang="en-US" dirty="0"/>
              <a:t>东</a:t>
            </a:r>
            <a:r>
              <a:rPr lang="zh-CN" altLang="en-US" dirty="0" smtClean="0"/>
              <a:t>数据仓库服务体系</a:t>
            </a:r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584702" y="1060125"/>
            <a:ext cx="19832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charset="2"/>
              <a:buChar char="Ø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完整的数据体系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91567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11"/>
          <p:cNvSpPr txBox="1">
            <a:spLocks noChangeArrowheads="1"/>
          </p:cNvSpPr>
          <p:nvPr/>
        </p:nvSpPr>
        <p:spPr bwMode="auto">
          <a:xfrm>
            <a:off x="30704" y="3915054"/>
            <a:ext cx="110799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业务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 flipH="1">
            <a:off x="2165748" y="4116287"/>
            <a:ext cx="5455444" cy="1545431"/>
          </a:xfrm>
          <a:prstGeom prst="parallelogram">
            <a:avLst>
              <a:gd name="adj" fmla="val 11470"/>
            </a:avLst>
          </a:prstGeom>
          <a:gradFill rotWithShape="1">
            <a:gsLst>
              <a:gs pos="0">
                <a:schemeClr val="bg2"/>
              </a:gs>
              <a:gs pos="100000">
                <a:schemeClr val="bg2">
                  <a:gamma/>
                  <a:tint val="0"/>
                  <a:invGamma/>
                </a:schemeClr>
              </a:gs>
            </a:gsLst>
            <a:lin ang="5400000" scaled="1"/>
          </a:gradFill>
          <a:ln w="9525">
            <a:miter lim="800000"/>
            <a:headEnd/>
            <a:tailEnd/>
          </a:ln>
          <a:effectLst/>
          <a:scene3d>
            <a:camera prst="legacyObliqueTopLeft">
              <a:rot lat="16199998" lon="0" rev="0"/>
            </a:camera>
            <a:lightRig rig="legacyFlat3" dir="t"/>
          </a:scene3d>
          <a:sp3d prstMaterial="legacyMatte">
            <a:bevelT w="13500" h="13500" prst="angle"/>
            <a:bevelB w="13500" h="13500" prst="angle"/>
            <a:extrusionClr>
              <a:schemeClr val="bg2"/>
            </a:extrusionClr>
          </a:sp3d>
        </p:spPr>
        <p:txBody>
          <a:bodyPr wrap="none" anchor="ctr">
            <a:flatTx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defRPr/>
            </a:pPr>
            <a:endParaRPr lang="zh-CN" altLang="zh-CN" sz="135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2" name="AutoShape 6"/>
          <p:cNvSpPr>
            <a:spLocks noChangeArrowheads="1"/>
          </p:cNvSpPr>
          <p:nvPr/>
        </p:nvSpPr>
        <p:spPr bwMode="auto">
          <a:xfrm flipH="1">
            <a:off x="2165747" y="3899593"/>
            <a:ext cx="1081088" cy="1545431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DDDDDD">
                  <a:alpha val="89998"/>
                </a:srgbClr>
              </a:gs>
              <a:gs pos="100000">
                <a:srgbClr val="FAFAFA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2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DDDDDD"/>
            </a:extrusionClr>
            <a:contourClr>
              <a:srgbClr val="DDDDDD"/>
            </a:contourClr>
          </a:sp3d>
        </p:spPr>
        <p:txBody>
          <a:bodyPr wrap="none" anchor="ctr">
            <a:flatTx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分析</a:t>
            </a:r>
            <a:endParaRPr lang="zh-CN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AutoShape 25"/>
          <p:cNvSpPr>
            <a:spLocks noChangeArrowheads="1"/>
          </p:cNvSpPr>
          <p:nvPr/>
        </p:nvSpPr>
        <p:spPr bwMode="auto">
          <a:xfrm flipH="1">
            <a:off x="2975372" y="3630512"/>
            <a:ext cx="1081088" cy="1545431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C0C0C0">
                  <a:alpha val="89998"/>
                </a:srgbClr>
              </a:gs>
              <a:gs pos="100000">
                <a:srgbClr val="F5F5F5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2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C0C0C0"/>
            </a:extrusionClr>
            <a:contourClr>
              <a:srgbClr val="C0C0C0"/>
            </a:contourClr>
          </a:sp3d>
        </p:spPr>
        <p:txBody>
          <a:bodyPr wrap="none" anchor="ctr">
            <a:flatTx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决策支持</a:t>
            </a:r>
            <a:endParaRPr lang="zh-CN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AutoShape 26"/>
          <p:cNvSpPr>
            <a:spLocks noChangeArrowheads="1"/>
          </p:cNvSpPr>
          <p:nvPr/>
        </p:nvSpPr>
        <p:spPr bwMode="auto">
          <a:xfrm flipH="1">
            <a:off x="3787379" y="3360241"/>
            <a:ext cx="1078706" cy="1545431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C0C0C0">
                  <a:alpha val="89998"/>
                </a:srgbClr>
              </a:gs>
              <a:gs pos="100000">
                <a:srgbClr val="F5F5F5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2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C0C0C0"/>
            </a:extrusionClr>
            <a:contourClr>
              <a:srgbClr val="C0C0C0"/>
            </a:contourClr>
          </a:sp3d>
        </p:spPr>
        <p:txBody>
          <a:bodyPr wrap="none" anchor="ctr">
            <a:flatTx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维分析</a:t>
            </a:r>
            <a:endParaRPr lang="zh-CN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AutoShape 27"/>
          <p:cNvSpPr>
            <a:spLocks noChangeArrowheads="1"/>
          </p:cNvSpPr>
          <p:nvPr/>
        </p:nvSpPr>
        <p:spPr bwMode="auto">
          <a:xfrm flipH="1">
            <a:off x="4597004" y="3089968"/>
            <a:ext cx="1078706" cy="1545431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BB3783">
                  <a:alpha val="89998"/>
                </a:srgbClr>
              </a:gs>
              <a:gs pos="100000">
                <a:srgbClr val="F4E0EC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2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BB3783"/>
            </a:extrusionClr>
            <a:contourClr>
              <a:srgbClr val="BB3783"/>
            </a:contourClr>
          </a:sp3d>
        </p:spPr>
        <p:txBody>
          <a:bodyPr wrap="none" anchor="ctr">
            <a:flatTx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挖掘</a:t>
            </a:r>
            <a:endParaRPr lang="zh-CN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AutoShape 28"/>
          <p:cNvSpPr>
            <a:spLocks noChangeArrowheads="1"/>
          </p:cNvSpPr>
          <p:nvPr/>
        </p:nvSpPr>
        <p:spPr bwMode="auto">
          <a:xfrm flipH="1">
            <a:off x="5406628" y="2799456"/>
            <a:ext cx="1081088" cy="1545431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669900">
                  <a:alpha val="89998"/>
                </a:srgbClr>
              </a:gs>
              <a:gs pos="100000">
                <a:srgbClr val="E7EFD7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2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669900"/>
            </a:extrusionClr>
            <a:contourClr>
              <a:srgbClr val="669900"/>
            </a:contourClr>
          </a:sp3d>
        </p:spPr>
        <p:txBody>
          <a:bodyPr wrap="none" anchor="ctr">
            <a:flatTx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生产支持</a:t>
            </a:r>
            <a:endParaRPr lang="zh-CN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AutoShape 29"/>
          <p:cNvSpPr>
            <a:spLocks noChangeArrowheads="1"/>
          </p:cNvSpPr>
          <p:nvPr/>
        </p:nvSpPr>
        <p:spPr bwMode="auto">
          <a:xfrm flipH="1">
            <a:off x="6216253" y="2529184"/>
            <a:ext cx="1081088" cy="1545431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18407B">
                  <a:alpha val="89998"/>
                </a:srgbClr>
              </a:gs>
              <a:gs pos="100000">
                <a:srgbClr val="DBE1EA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2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18407B"/>
            </a:extrusionClr>
            <a:contourClr>
              <a:srgbClr val="18407B"/>
            </a:contourClr>
          </a:sp3d>
        </p:spPr>
        <p:txBody>
          <a:bodyPr wrap="none" anchor="ctr">
            <a:flatTx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风控、</a:t>
            </a: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金融等应用</a:t>
            </a:r>
            <a:endParaRPr lang="zh-CN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AutoShape 30"/>
          <p:cNvSpPr>
            <a:spLocks noChangeArrowheads="1"/>
          </p:cNvSpPr>
          <p:nvPr/>
        </p:nvSpPr>
        <p:spPr bwMode="auto">
          <a:xfrm rot="20481259">
            <a:off x="2058591" y="2853034"/>
            <a:ext cx="4264819" cy="594122"/>
          </a:xfrm>
          <a:prstGeom prst="rightArrow">
            <a:avLst>
              <a:gd name="adj1" fmla="val 54713"/>
              <a:gd name="adj2" fmla="val 70986"/>
            </a:avLst>
          </a:prstGeom>
          <a:gradFill rotWithShape="1">
            <a:gsLst>
              <a:gs pos="0">
                <a:srgbClr val="B1BFD2">
                  <a:alpha val="0"/>
                </a:srgbClr>
              </a:gs>
              <a:gs pos="100000">
                <a:srgbClr val="18407B">
                  <a:alpha val="5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数据平台产品</a:t>
            </a:r>
            <a:endParaRPr lang="en-US" altLang="ko-KR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Rectangle 37"/>
          <p:cNvSpPr>
            <a:spLocks noChangeArrowheads="1"/>
          </p:cNvSpPr>
          <p:nvPr/>
        </p:nvSpPr>
        <p:spPr bwMode="auto">
          <a:xfrm>
            <a:off x="6756797" y="3879352"/>
            <a:ext cx="954603" cy="1241822"/>
          </a:xfrm>
          <a:prstGeom prst="rect">
            <a:avLst/>
          </a:prstGeom>
          <a:solidFill>
            <a:schemeClr val="accent1">
              <a:alpha val="50195"/>
            </a:schemeClr>
          </a:solidFill>
          <a:ln w="12700">
            <a:solidFill>
              <a:srgbClr val="969696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供全方位</a:t>
            </a: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服务</a:t>
            </a: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auto">
          <a:xfrm>
            <a:off x="5947172" y="3851968"/>
            <a:ext cx="800100" cy="296466"/>
          </a:xfrm>
          <a:prstGeom prst="rect">
            <a:avLst/>
          </a:prstGeom>
          <a:solidFill>
            <a:srgbClr val="969696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zh-CN" altLang="zh-CN" sz="135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2" name="Rectangle 47"/>
          <p:cNvSpPr>
            <a:spLocks noChangeArrowheads="1"/>
          </p:cNvSpPr>
          <p:nvPr/>
        </p:nvSpPr>
        <p:spPr bwMode="auto">
          <a:xfrm>
            <a:off x="5137548" y="4140099"/>
            <a:ext cx="816769" cy="296466"/>
          </a:xfrm>
          <a:prstGeom prst="rect">
            <a:avLst/>
          </a:prstGeom>
          <a:solidFill>
            <a:srgbClr val="969696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zh-CN" altLang="zh-CN" sz="135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84702" y="1238431"/>
            <a:ext cx="24449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charset="2"/>
              <a:buChar char="Ø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全面的数据服务内容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京</a:t>
            </a:r>
            <a:r>
              <a:rPr lang="zh-CN" altLang="en-US" dirty="0"/>
              <a:t>东</a:t>
            </a:r>
            <a:r>
              <a:rPr lang="zh-CN" altLang="en-US" dirty="0" smtClean="0"/>
              <a:t>数据仓库服务体系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74292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11"/>
          <p:cNvSpPr txBox="1">
            <a:spLocks noChangeArrowheads="1"/>
          </p:cNvSpPr>
          <p:nvPr/>
        </p:nvSpPr>
        <p:spPr bwMode="auto">
          <a:xfrm>
            <a:off x="30704" y="3915054"/>
            <a:ext cx="110799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业务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27"/>
          <p:cNvSpPr txBox="1"/>
          <p:nvPr/>
        </p:nvSpPr>
        <p:spPr>
          <a:xfrm>
            <a:off x="1146181" y="5805264"/>
            <a:ext cx="5319210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zh-CN" altLang="en-US" sz="1350" dirty="0">
                <a:latin typeface="微软雅黑" pitchFamily="34" charset="-122"/>
                <a:ea typeface="微软雅黑" pitchFamily="34" charset="-122"/>
              </a:rPr>
              <a:t>根据任务重要程度，申请不同等级的服务目录</a:t>
            </a:r>
            <a:endParaRPr lang="en-US" altLang="zh-CN" sz="1350" dirty="0">
              <a:latin typeface="微软雅黑" pitchFamily="34" charset="-122"/>
              <a:ea typeface="微软雅黑" pitchFamily="34" charset="-122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zh-CN" altLang="en-US" sz="1350" dirty="0">
                <a:latin typeface="微软雅黑" pitchFamily="34" charset="-122"/>
                <a:ea typeface="微软雅黑" pitchFamily="34" charset="-122"/>
              </a:rPr>
              <a:t>针对不同等级的服务目录有不同的响应级别</a:t>
            </a:r>
            <a:endParaRPr lang="en-US" altLang="zh-CN" sz="1350" dirty="0">
              <a:latin typeface="微软雅黑" pitchFamily="34" charset="-122"/>
              <a:ea typeface="微软雅黑" pitchFamily="34" charset="-122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zh-CN" altLang="en-US" sz="1350" dirty="0">
                <a:latin typeface="微软雅黑" pitchFamily="34" charset="-122"/>
                <a:ea typeface="微软雅黑" pitchFamily="34" charset="-122"/>
              </a:rPr>
              <a:t>目标为保证核心任务稳定运行</a:t>
            </a:r>
          </a:p>
        </p:txBody>
      </p:sp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京</a:t>
            </a:r>
            <a:r>
              <a:rPr lang="zh-CN" altLang="en-US" dirty="0"/>
              <a:t>东</a:t>
            </a:r>
            <a:r>
              <a:rPr lang="zh-CN" altLang="en-US" dirty="0" smtClean="0"/>
              <a:t>数据仓库服务体系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584702" y="1238431"/>
            <a:ext cx="24449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charset="2"/>
              <a:buChar char="Ø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完善的数据监控体系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584" y="1696738"/>
            <a:ext cx="7972425" cy="401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550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555776" y="2204864"/>
            <a:ext cx="33843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600" dirty="0">
                <a:solidFill>
                  <a:schemeClr val="bg1"/>
                </a:solidFill>
              </a:rPr>
              <a:t>END</a:t>
            </a:r>
            <a:r>
              <a:rPr lang="zh-CN" altLang="en-US" dirty="0" smtClean="0">
                <a:solidFill>
                  <a:schemeClr val="bg1"/>
                </a:solidFill>
              </a:rPr>
              <a:t> </a:t>
            </a:r>
            <a:endParaRPr lang="en-US" altLang="zh-CN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90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矩形 6"/>
          <p:cNvSpPr>
            <a:spLocks noChangeArrowheads="1"/>
          </p:cNvSpPr>
          <p:nvPr/>
        </p:nvSpPr>
        <p:spPr bwMode="auto">
          <a:xfrm>
            <a:off x="755576" y="1412776"/>
            <a:ext cx="457200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just">
              <a:lnSpc>
                <a:spcPct val="20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2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r>
              <a:rPr lang="zh-CN" altLang="en-US" sz="21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仓库架构</a:t>
            </a:r>
            <a:endParaRPr lang="zh-CN" altLang="en-US" sz="21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2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京东数据仓库规范</a:t>
            </a:r>
          </a:p>
          <a:p>
            <a:pPr>
              <a:lnSpc>
                <a:spcPct val="20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zh-CN" altLang="en-US" sz="2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京东数据仓库服务体系</a:t>
            </a:r>
          </a:p>
        </p:txBody>
      </p:sp>
      <p:sp>
        <p:nvSpPr>
          <p:cNvPr id="7" name="文本框 11"/>
          <p:cNvSpPr txBox="1">
            <a:spLocks noChangeArrowheads="1"/>
          </p:cNvSpPr>
          <p:nvPr/>
        </p:nvSpPr>
        <p:spPr bwMode="auto">
          <a:xfrm>
            <a:off x="30704" y="3915054"/>
            <a:ext cx="110799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业务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67791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文本框 18"/>
          <p:cNvSpPr txBox="1">
            <a:spLocks noChangeArrowheads="1"/>
          </p:cNvSpPr>
          <p:nvPr/>
        </p:nvSpPr>
        <p:spPr bwMode="auto">
          <a:xfrm>
            <a:off x="5149454" y="3480197"/>
            <a:ext cx="118824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15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证大数据平台稳定性</a:t>
            </a:r>
          </a:p>
        </p:txBody>
      </p:sp>
      <p:sp>
        <p:nvSpPr>
          <p:cNvPr id="9219" name="文本框 19"/>
          <p:cNvSpPr txBox="1">
            <a:spLocks noChangeArrowheads="1"/>
          </p:cNvSpPr>
          <p:nvPr/>
        </p:nvSpPr>
        <p:spPr bwMode="auto">
          <a:xfrm>
            <a:off x="3339704" y="5013722"/>
            <a:ext cx="118824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15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促进用户技能提升</a:t>
            </a:r>
          </a:p>
        </p:txBody>
      </p:sp>
      <p:graphicFrame>
        <p:nvGraphicFramePr>
          <p:cNvPr id="2" name="图示 1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文本框 11"/>
          <p:cNvSpPr txBox="1">
            <a:spLocks noChangeArrowheads="1"/>
          </p:cNvSpPr>
          <p:nvPr/>
        </p:nvSpPr>
        <p:spPr bwMode="auto">
          <a:xfrm>
            <a:off x="30704" y="3915054"/>
            <a:ext cx="110799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业务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京</a:t>
            </a:r>
            <a:r>
              <a:rPr lang="zh-CN" altLang="en-US" dirty="0"/>
              <a:t>东数据仓库架构</a:t>
            </a:r>
          </a:p>
        </p:txBody>
      </p:sp>
      <p:sp>
        <p:nvSpPr>
          <p:cNvPr id="3" name="矩形 2"/>
          <p:cNvSpPr/>
          <p:nvPr/>
        </p:nvSpPr>
        <p:spPr>
          <a:xfrm>
            <a:off x="584702" y="1238431"/>
            <a:ext cx="24449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charset="2"/>
              <a:buChar char="Ø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东数据仓库的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发展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5241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58A8A499-F60B-4912-A3C6-067C33C723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graphicEl>
                                              <a:dgm id="{58A8A499-F60B-4912-A3C6-067C33C7230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4C3DF065-5CEE-44AC-A163-BAC2E21C41B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>
                                            <p:graphicEl>
                                              <a:dgm id="{4C3DF065-5CEE-44AC-A163-BAC2E21C41B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B5BC8A9-A134-4C67-9F18-4F79483C31B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>
                                            <p:graphicEl>
                                              <a:dgm id="{8B5BC8A9-A134-4C67-9F18-4F79483C31B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5E26FA4-A3F4-4D84-8966-C8574EBA4F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graphicEl>
                                              <a:dgm id="{85E26FA4-A3F4-4D84-8966-C8574EBA4F0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9D8ACB65-E2AA-401A-8A04-E2D7CD40B8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graphicEl>
                                              <a:dgm id="{9D8ACB65-E2AA-401A-8A04-E2D7CD40B87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E7C2D06-6A53-417A-B9E3-BA387A3F2C8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graphicEl>
                                              <a:dgm id="{8E7C2D06-6A53-417A-B9E3-BA387A3F2C8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2C0BAF8-CCDD-4C79-B6E6-F3A62E29F07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graphicEl>
                                              <a:dgm id="{12C0BAF8-CCDD-4C79-B6E6-F3A62E29F07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693AB1D8-7E6A-427B-85A8-A044FBA09EB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graphicEl>
                                              <a:dgm id="{693AB1D8-7E6A-427B-85A8-A044FBA09EB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58210032-EF91-494F-966F-B2C574D021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">
                                            <p:graphicEl>
                                              <a:dgm id="{58210032-EF91-494F-966F-B2C574D0211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43DA4E2C-F827-481A-8169-EC0964140AB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>
                                            <p:graphicEl>
                                              <a:dgm id="{43DA4E2C-F827-481A-8169-EC0964140AB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41238E3E-412A-4ABD-9AAD-4178E9D689C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graphicEl>
                                              <a:dgm id="{41238E3E-412A-4ABD-9AAD-4178E9D689C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Sub>
          <a:bldDgm bld="one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矩形 37"/>
          <p:cNvSpPr/>
          <p:nvPr/>
        </p:nvSpPr>
        <p:spPr bwMode="gray">
          <a:xfrm>
            <a:off x="1992666" y="5571237"/>
            <a:ext cx="2601932" cy="378042"/>
          </a:xfrm>
          <a:prstGeom prst="rec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构化</a:t>
            </a:r>
            <a:endParaRPr lang="zh-CN" altLang="en-US" sz="135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矩形 74"/>
          <p:cNvSpPr/>
          <p:nvPr/>
        </p:nvSpPr>
        <p:spPr bwMode="gray">
          <a:xfrm>
            <a:off x="2559369" y="5178753"/>
            <a:ext cx="5168554" cy="378042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 smtClean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直通车</a:t>
            </a:r>
            <a:r>
              <a:rPr lang="en-US" altLang="zh-CN" sz="1350" dirty="0" smtClean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en-US" altLang="zh-CN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lumber</a:t>
            </a:r>
            <a:r>
              <a:rPr lang="en-US" altLang="zh-CN" sz="1350" dirty="0" smtClean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35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矩形 75"/>
          <p:cNvSpPr/>
          <p:nvPr/>
        </p:nvSpPr>
        <p:spPr bwMode="gray">
          <a:xfrm>
            <a:off x="4622926" y="5571237"/>
            <a:ext cx="3104996" cy="378042"/>
          </a:xfrm>
          <a:prstGeom prst="rec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结构化</a:t>
            </a:r>
            <a:endParaRPr lang="zh-CN" altLang="en-US" sz="135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矩形 76"/>
          <p:cNvSpPr/>
          <p:nvPr/>
        </p:nvSpPr>
        <p:spPr bwMode="gray">
          <a:xfrm>
            <a:off x="2559367" y="4069842"/>
            <a:ext cx="2079000" cy="1081352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endParaRPr lang="zh-CN" altLang="en-US" sz="135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1" name="矩形 80"/>
          <p:cNvSpPr/>
          <p:nvPr/>
        </p:nvSpPr>
        <p:spPr bwMode="gray">
          <a:xfrm>
            <a:off x="3163935" y="3272818"/>
            <a:ext cx="1222777" cy="270000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质量监控</a:t>
            </a:r>
          </a:p>
        </p:txBody>
      </p:sp>
      <p:sp>
        <p:nvSpPr>
          <p:cNvPr id="82" name="矩形 81"/>
          <p:cNvSpPr/>
          <p:nvPr/>
        </p:nvSpPr>
        <p:spPr bwMode="gray">
          <a:xfrm>
            <a:off x="3163935" y="2970082"/>
            <a:ext cx="1222777" cy="270000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式计算</a:t>
            </a:r>
          </a:p>
        </p:txBody>
      </p:sp>
      <p:sp>
        <p:nvSpPr>
          <p:cNvPr id="83" name="矩形 82"/>
          <p:cNvSpPr/>
          <p:nvPr/>
        </p:nvSpPr>
        <p:spPr bwMode="gray">
          <a:xfrm>
            <a:off x="1992664" y="3559095"/>
            <a:ext cx="542348" cy="199770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eaVert"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布式调度平台</a:t>
            </a:r>
          </a:p>
        </p:txBody>
      </p:sp>
      <p:sp>
        <p:nvSpPr>
          <p:cNvPr id="84" name="矩形 83"/>
          <p:cNvSpPr/>
          <p:nvPr/>
        </p:nvSpPr>
        <p:spPr bwMode="gray">
          <a:xfrm>
            <a:off x="4412363" y="3266223"/>
            <a:ext cx="1162814" cy="270000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一权限管理</a:t>
            </a:r>
          </a:p>
        </p:txBody>
      </p:sp>
      <p:sp>
        <p:nvSpPr>
          <p:cNvPr id="85" name="矩形 84"/>
          <p:cNvSpPr/>
          <p:nvPr/>
        </p:nvSpPr>
        <p:spPr bwMode="gray">
          <a:xfrm>
            <a:off x="1993471" y="2968467"/>
            <a:ext cx="1160951" cy="270000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版分析师</a:t>
            </a:r>
          </a:p>
        </p:txBody>
      </p:sp>
      <p:sp>
        <p:nvSpPr>
          <p:cNvPr id="86" name="矩形 85"/>
          <p:cNvSpPr/>
          <p:nvPr/>
        </p:nvSpPr>
        <p:spPr bwMode="gray">
          <a:xfrm>
            <a:off x="1993471" y="3268833"/>
            <a:ext cx="1160951" cy="270000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知识管理</a:t>
            </a:r>
          </a:p>
        </p:txBody>
      </p:sp>
      <p:sp>
        <p:nvSpPr>
          <p:cNvPr id="87" name="矩形 86"/>
          <p:cNvSpPr/>
          <p:nvPr/>
        </p:nvSpPr>
        <p:spPr bwMode="gray">
          <a:xfrm>
            <a:off x="5589204" y="3266223"/>
            <a:ext cx="1167575" cy="270000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源管理</a:t>
            </a:r>
          </a:p>
        </p:txBody>
      </p:sp>
      <p:sp>
        <p:nvSpPr>
          <p:cNvPr id="88" name="矩形 87"/>
          <p:cNvSpPr/>
          <p:nvPr/>
        </p:nvSpPr>
        <p:spPr bwMode="gray">
          <a:xfrm>
            <a:off x="4399809" y="2970082"/>
            <a:ext cx="1175369" cy="270000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计算</a:t>
            </a:r>
          </a:p>
        </p:txBody>
      </p:sp>
      <p:sp>
        <p:nvSpPr>
          <p:cNvPr id="89" name="矩形 88"/>
          <p:cNvSpPr/>
          <p:nvPr/>
        </p:nvSpPr>
        <p:spPr bwMode="gray">
          <a:xfrm>
            <a:off x="2547168" y="3559094"/>
            <a:ext cx="4209611" cy="486054"/>
          </a:xfrm>
          <a:prstGeom prst="rec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endParaRPr lang="zh-CN" altLang="en-US" sz="135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矩形 89"/>
          <p:cNvSpPr/>
          <p:nvPr/>
        </p:nvSpPr>
        <p:spPr bwMode="gray">
          <a:xfrm>
            <a:off x="2681405" y="3624464"/>
            <a:ext cx="999888" cy="270000"/>
          </a:xfrm>
          <a:prstGeom prst="rec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营销集市</a:t>
            </a:r>
          </a:p>
        </p:txBody>
      </p:sp>
      <p:sp>
        <p:nvSpPr>
          <p:cNvPr id="91" name="矩形 90"/>
          <p:cNvSpPr/>
          <p:nvPr/>
        </p:nvSpPr>
        <p:spPr bwMode="gray">
          <a:xfrm>
            <a:off x="3767237" y="3624464"/>
            <a:ext cx="1831108" cy="270000"/>
          </a:xfrm>
          <a:prstGeom prst="rec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en-US" altLang="zh-CN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lang="zh-CN" altLang="en-US" sz="135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矩形 91"/>
          <p:cNvSpPr/>
          <p:nvPr/>
        </p:nvSpPr>
        <p:spPr bwMode="gray">
          <a:xfrm>
            <a:off x="5716925" y="3627738"/>
            <a:ext cx="999888" cy="270000"/>
          </a:xfrm>
          <a:prstGeom prst="rec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财务集市</a:t>
            </a:r>
          </a:p>
        </p:txBody>
      </p:sp>
      <p:sp>
        <p:nvSpPr>
          <p:cNvPr id="93" name="矩形 92"/>
          <p:cNvSpPr/>
          <p:nvPr/>
        </p:nvSpPr>
        <p:spPr bwMode="gray">
          <a:xfrm>
            <a:off x="5584692" y="2970082"/>
            <a:ext cx="1172087" cy="270000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挖掘平台</a:t>
            </a:r>
          </a:p>
        </p:txBody>
      </p:sp>
      <p:sp>
        <p:nvSpPr>
          <p:cNvPr id="94" name="矩形 93"/>
          <p:cNvSpPr/>
          <p:nvPr/>
        </p:nvSpPr>
        <p:spPr bwMode="gray">
          <a:xfrm>
            <a:off x="1989438" y="2111368"/>
            <a:ext cx="1253025" cy="270000"/>
          </a:xfrm>
          <a:prstGeom prst="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ysDash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罗盘</a:t>
            </a:r>
          </a:p>
        </p:txBody>
      </p:sp>
      <p:sp>
        <p:nvSpPr>
          <p:cNvPr id="95" name="矩形 94"/>
          <p:cNvSpPr/>
          <p:nvPr/>
        </p:nvSpPr>
        <p:spPr bwMode="gray">
          <a:xfrm>
            <a:off x="3262433" y="2111368"/>
            <a:ext cx="1458162" cy="270000"/>
          </a:xfrm>
          <a:prstGeom prst="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ysDash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航员</a:t>
            </a:r>
          </a:p>
        </p:txBody>
      </p:sp>
      <p:sp>
        <p:nvSpPr>
          <p:cNvPr id="96" name="矩形 95"/>
          <p:cNvSpPr/>
          <p:nvPr/>
        </p:nvSpPr>
        <p:spPr bwMode="gray">
          <a:xfrm>
            <a:off x="4746971" y="2111368"/>
            <a:ext cx="864561" cy="270000"/>
          </a:xfrm>
          <a:prstGeom prst="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ysDash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子午线</a:t>
            </a:r>
          </a:p>
        </p:txBody>
      </p:sp>
      <p:sp>
        <p:nvSpPr>
          <p:cNvPr id="97" name="矩形 96"/>
          <p:cNvSpPr/>
          <p:nvPr/>
        </p:nvSpPr>
        <p:spPr bwMode="gray">
          <a:xfrm>
            <a:off x="5638697" y="2111368"/>
            <a:ext cx="1124257" cy="270000"/>
          </a:xfrm>
          <a:prstGeom prst="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ysDash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画像</a:t>
            </a:r>
          </a:p>
        </p:txBody>
      </p:sp>
      <p:sp>
        <p:nvSpPr>
          <p:cNvPr id="98" name="上箭头 97"/>
          <p:cNvSpPr/>
          <p:nvPr/>
        </p:nvSpPr>
        <p:spPr bwMode="gray">
          <a:xfrm>
            <a:off x="1412988" y="2377037"/>
            <a:ext cx="529133" cy="3572243"/>
          </a:xfrm>
          <a:prstGeom prst="upArrow">
            <a:avLst/>
          </a:prstGeom>
          <a:gradFill rotWithShape="1">
            <a:gsLst>
              <a:gs pos="0">
                <a:srgbClr val="8064A2">
                  <a:shade val="51000"/>
                  <a:satMod val="130000"/>
                </a:srgbClr>
              </a:gs>
              <a:gs pos="80000">
                <a:srgbClr val="8064A2">
                  <a:shade val="93000"/>
                  <a:satMod val="130000"/>
                </a:srgbClr>
              </a:gs>
              <a:gs pos="100000">
                <a:srgbClr val="8064A2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eaVert"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流向</a:t>
            </a:r>
          </a:p>
        </p:txBody>
      </p:sp>
      <p:sp>
        <p:nvSpPr>
          <p:cNvPr id="100" name="矩形 99"/>
          <p:cNvSpPr/>
          <p:nvPr/>
        </p:nvSpPr>
        <p:spPr bwMode="gray">
          <a:xfrm>
            <a:off x="6786014" y="2668101"/>
            <a:ext cx="945000" cy="874718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产品</a:t>
            </a:r>
          </a:p>
        </p:txBody>
      </p:sp>
      <p:sp>
        <p:nvSpPr>
          <p:cNvPr id="101" name="矩形 100"/>
          <p:cNvSpPr/>
          <p:nvPr/>
        </p:nvSpPr>
        <p:spPr bwMode="gray">
          <a:xfrm>
            <a:off x="6786011" y="3559094"/>
            <a:ext cx="945000" cy="474969"/>
          </a:xfrm>
          <a:prstGeom prst="rec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集市</a:t>
            </a:r>
          </a:p>
        </p:txBody>
      </p:sp>
      <p:sp>
        <p:nvSpPr>
          <p:cNvPr id="102" name="矩形 101"/>
          <p:cNvSpPr/>
          <p:nvPr/>
        </p:nvSpPr>
        <p:spPr bwMode="gray">
          <a:xfrm>
            <a:off x="6786014" y="4069842"/>
            <a:ext cx="945000" cy="1081352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仓库</a:t>
            </a:r>
          </a:p>
        </p:txBody>
      </p:sp>
      <p:sp>
        <p:nvSpPr>
          <p:cNvPr id="103" name="矩形 102"/>
          <p:cNvSpPr/>
          <p:nvPr/>
        </p:nvSpPr>
        <p:spPr bwMode="gray">
          <a:xfrm>
            <a:off x="1993471" y="2668101"/>
            <a:ext cx="1701011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集成开发平台</a:t>
            </a:r>
          </a:p>
        </p:txBody>
      </p:sp>
      <p:sp>
        <p:nvSpPr>
          <p:cNvPr id="104" name="矩形 103"/>
          <p:cNvSpPr/>
          <p:nvPr/>
        </p:nvSpPr>
        <p:spPr bwMode="gray">
          <a:xfrm>
            <a:off x="3716977" y="2668797"/>
            <a:ext cx="1524725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1350" dirty="0" err="1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lap</a:t>
            </a: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</a:p>
        </p:txBody>
      </p:sp>
      <p:sp>
        <p:nvSpPr>
          <p:cNvPr id="105" name="矩形 104"/>
          <p:cNvSpPr/>
          <p:nvPr/>
        </p:nvSpPr>
        <p:spPr bwMode="gray">
          <a:xfrm>
            <a:off x="5264195" y="2668099"/>
            <a:ext cx="1498758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分析师</a:t>
            </a:r>
          </a:p>
        </p:txBody>
      </p:sp>
      <p:sp>
        <p:nvSpPr>
          <p:cNvPr id="39" name="矩形 38"/>
          <p:cNvSpPr/>
          <p:nvPr/>
        </p:nvSpPr>
        <p:spPr bwMode="gray">
          <a:xfrm>
            <a:off x="1996924" y="2386306"/>
            <a:ext cx="1245539" cy="270000"/>
          </a:xfrm>
          <a:prstGeom prst="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营销</a:t>
            </a:r>
            <a:r>
              <a:rPr lang="en-US" altLang="zh-CN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</a:t>
            </a:r>
          </a:p>
        </p:txBody>
      </p:sp>
      <p:sp>
        <p:nvSpPr>
          <p:cNvPr id="40" name="矩形 39"/>
          <p:cNvSpPr/>
          <p:nvPr/>
        </p:nvSpPr>
        <p:spPr bwMode="gray">
          <a:xfrm>
            <a:off x="3259341" y="2386306"/>
            <a:ext cx="1458162" cy="270000"/>
          </a:xfrm>
          <a:prstGeom prst="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搜索</a:t>
            </a:r>
            <a:r>
              <a:rPr lang="en-US" altLang="zh-CN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荐</a:t>
            </a:r>
            <a:r>
              <a:rPr lang="en-US" altLang="zh-CN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告</a:t>
            </a:r>
          </a:p>
        </p:txBody>
      </p:sp>
      <p:sp>
        <p:nvSpPr>
          <p:cNvPr id="41" name="矩形 40"/>
          <p:cNvSpPr/>
          <p:nvPr/>
        </p:nvSpPr>
        <p:spPr bwMode="gray">
          <a:xfrm>
            <a:off x="4743879" y="2386306"/>
            <a:ext cx="864561" cy="270000"/>
          </a:xfrm>
          <a:prstGeom prst="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财务</a:t>
            </a:r>
            <a:r>
              <a:rPr lang="en-US" altLang="zh-CN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市场</a:t>
            </a:r>
          </a:p>
        </p:txBody>
      </p:sp>
      <p:sp>
        <p:nvSpPr>
          <p:cNvPr id="42" name="矩形 41"/>
          <p:cNvSpPr/>
          <p:nvPr/>
        </p:nvSpPr>
        <p:spPr bwMode="gray">
          <a:xfrm>
            <a:off x="5635605" y="2386306"/>
            <a:ext cx="1124257" cy="270000"/>
          </a:xfrm>
          <a:prstGeom prst="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融</a:t>
            </a:r>
            <a:r>
              <a:rPr lang="en-US" altLang="zh-CN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拍拍</a:t>
            </a:r>
          </a:p>
        </p:txBody>
      </p:sp>
      <p:sp>
        <p:nvSpPr>
          <p:cNvPr id="43" name="矩形 42"/>
          <p:cNvSpPr/>
          <p:nvPr/>
        </p:nvSpPr>
        <p:spPr bwMode="gray">
          <a:xfrm>
            <a:off x="6782922" y="2111368"/>
            <a:ext cx="945000" cy="544938"/>
          </a:xfrm>
          <a:prstGeom prst="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zh-CN" altLang="en-US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应用</a:t>
            </a:r>
          </a:p>
        </p:txBody>
      </p:sp>
      <p:sp>
        <p:nvSpPr>
          <p:cNvPr id="44" name="矩形 43"/>
          <p:cNvSpPr/>
          <p:nvPr/>
        </p:nvSpPr>
        <p:spPr bwMode="gray">
          <a:xfrm>
            <a:off x="4638367" y="4071589"/>
            <a:ext cx="2123813" cy="1081352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endParaRPr lang="zh-CN" altLang="en-US" sz="135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矩形 44"/>
          <p:cNvSpPr/>
          <p:nvPr/>
        </p:nvSpPr>
        <p:spPr bwMode="gray">
          <a:xfrm>
            <a:off x="2821948" y="4464191"/>
            <a:ext cx="1490561" cy="360613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en-US" altLang="zh-CN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  <a:endParaRPr lang="zh-CN" altLang="en-US" sz="135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45"/>
          <p:cNvSpPr/>
          <p:nvPr/>
        </p:nvSpPr>
        <p:spPr bwMode="gray">
          <a:xfrm>
            <a:off x="4890324" y="4464386"/>
            <a:ext cx="1490561" cy="360613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rtlCol="0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en-US" altLang="zh-CN" sz="135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RDW</a:t>
            </a:r>
            <a:endParaRPr lang="zh-CN" altLang="en-US" sz="1350" dirty="0">
              <a:solidFill>
                <a:sysClr val="window" lastClr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京</a:t>
            </a:r>
            <a:r>
              <a:rPr lang="zh-CN" altLang="en-US" dirty="0"/>
              <a:t>东数据仓库架构</a:t>
            </a:r>
          </a:p>
        </p:txBody>
      </p:sp>
      <p:sp>
        <p:nvSpPr>
          <p:cNvPr id="49" name="矩形 48"/>
          <p:cNvSpPr/>
          <p:nvPr/>
        </p:nvSpPr>
        <p:spPr>
          <a:xfrm>
            <a:off x="584702" y="1238431"/>
            <a:ext cx="12907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charset="2"/>
              <a:buChar char="Ø"/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架构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90032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5"/>
          <p:cNvSpPr txBox="1">
            <a:spLocks noChangeArrowheads="1"/>
          </p:cNvSpPr>
          <p:nvPr/>
        </p:nvSpPr>
        <p:spPr bwMode="auto">
          <a:xfrm>
            <a:off x="1150351" y="2165474"/>
            <a:ext cx="6372225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350" dirty="0"/>
              <a:t>JDW</a:t>
            </a:r>
            <a:r>
              <a:rPr lang="zh-CN" altLang="zh-CN" sz="1350" dirty="0"/>
              <a:t>的核心数据架构分为四层：缓冲数据层、基础数据层、通用数据层、聚合数据层，其次是临时层和维度层。其示意图如下：</a:t>
            </a:r>
            <a:endParaRPr lang="zh-CN" altLang="en-US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0623" y="2651249"/>
            <a:ext cx="5589984" cy="3298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文本框 11"/>
          <p:cNvSpPr txBox="1">
            <a:spLocks noChangeArrowheads="1"/>
          </p:cNvSpPr>
          <p:nvPr/>
        </p:nvSpPr>
        <p:spPr bwMode="auto">
          <a:xfrm>
            <a:off x="30704" y="3518730"/>
            <a:ext cx="110799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业务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京</a:t>
            </a:r>
            <a:r>
              <a:rPr lang="zh-CN" altLang="en-US" dirty="0"/>
              <a:t>东数据仓库架构</a:t>
            </a:r>
          </a:p>
        </p:txBody>
      </p:sp>
      <p:sp>
        <p:nvSpPr>
          <p:cNvPr id="8" name="矩形 7"/>
          <p:cNvSpPr/>
          <p:nvPr/>
        </p:nvSpPr>
        <p:spPr>
          <a:xfrm>
            <a:off x="584702" y="1238431"/>
            <a:ext cx="20249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charset="2"/>
              <a:buChar char="Ø"/>
            </a:pP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架构分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85974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9609502"/>
              </p:ext>
            </p:extLst>
          </p:nvPr>
        </p:nvGraphicFramePr>
        <p:xfrm>
          <a:off x="1259632" y="2348883"/>
          <a:ext cx="6840760" cy="34232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91085"/>
                <a:gridCol w="1272794"/>
                <a:gridCol w="578840"/>
                <a:gridCol w="4398041"/>
              </a:tblGrid>
              <a:tr h="26857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800" kern="0" dirty="0">
                          <a:effectLst/>
                          <a:latin typeface="+mj-ea"/>
                          <a:ea typeface="+mj-ea"/>
                        </a:rPr>
                        <a:t>序号</a:t>
                      </a:r>
                      <a:endParaRPr lang="zh-CN" sz="900" kern="100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800" kern="0" dirty="0">
                          <a:effectLst/>
                          <a:latin typeface="+mj-ea"/>
                          <a:ea typeface="+mj-ea"/>
                        </a:rPr>
                        <a:t>数据层次</a:t>
                      </a:r>
                      <a:endParaRPr lang="zh-CN" sz="900" kern="100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800" kern="0">
                          <a:effectLst/>
                          <a:latin typeface="+mj-ea"/>
                          <a:ea typeface="+mj-ea"/>
                        </a:rPr>
                        <a:t>简称</a:t>
                      </a:r>
                      <a:endParaRPr lang="zh-CN" sz="900" kern="100">
                        <a:effectLst/>
                        <a:latin typeface="+mj-ea"/>
                        <a:ea typeface="+mj-ea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800" kern="0" dirty="0">
                          <a:effectLst/>
                          <a:latin typeface="+mj-ea"/>
                          <a:ea typeface="+mj-ea"/>
                        </a:rPr>
                        <a:t>数据层次用途简述</a:t>
                      </a:r>
                      <a:endParaRPr lang="zh-CN" sz="900" kern="100" dirty="0">
                        <a:effectLst/>
                        <a:latin typeface="+mj-ea"/>
                        <a:ea typeface="+mj-ea"/>
                      </a:endParaRPr>
                    </a:p>
                  </a:txBody>
                  <a:tcPr marL="51434" marR="51434" marT="0" marB="0" anchor="ctr"/>
                </a:tc>
              </a:tr>
              <a:tr h="3794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800" kern="0">
                          <a:effectLst/>
                        </a:rPr>
                        <a:t>1</a:t>
                      </a:r>
                      <a:endParaRPr lang="zh-CN" sz="9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900" kern="1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缓冲数据层</a:t>
                      </a: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900" kern="1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BDM</a:t>
                      </a:r>
                      <a:endParaRPr lang="zh-CN" sz="900" kern="10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altLang="en-US" sz="900" kern="100" dirty="0" smtClean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接收来自不同源系统数据，数据结构和源系统保持一致</a:t>
                      </a:r>
                      <a:endParaRPr lang="zh-CN" sz="900" kern="100" dirty="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51434" marR="51434" marT="0" marB="0" anchor="ctr"/>
                </a:tc>
              </a:tr>
              <a:tr h="50133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800" kern="0">
                          <a:effectLst/>
                        </a:rPr>
                        <a:t>2</a:t>
                      </a:r>
                      <a:endParaRPr lang="zh-CN" sz="9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900" kern="1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基础数据层</a:t>
                      </a: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900" kern="1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FDM</a:t>
                      </a:r>
                      <a:endParaRPr lang="zh-CN" sz="900" kern="10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900" kern="1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按业务概念组织细节</a:t>
                      </a:r>
                      <a:r>
                        <a:rPr lang="zh-CN" sz="900" kern="100" dirty="0" smtClean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数据</a:t>
                      </a:r>
                      <a:r>
                        <a:rPr lang="zh-CN" altLang="en-US" sz="900" kern="100" dirty="0" smtClean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，对历史状态进行拉链处理，可任意还原抽取数据以来每天的快照数据</a:t>
                      </a:r>
                      <a:r>
                        <a:rPr lang="zh-CN" sz="900" kern="100" dirty="0" smtClean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。</a:t>
                      </a:r>
                      <a:endParaRPr lang="zh-CN" sz="900" kern="100" dirty="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51434" marR="51434" marT="0" marB="0" anchor="ctr"/>
                </a:tc>
              </a:tr>
              <a:tr h="75199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800" kern="0">
                          <a:effectLst/>
                        </a:rPr>
                        <a:t>3</a:t>
                      </a:r>
                      <a:endParaRPr lang="zh-CN" sz="9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900" kern="1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通用数据层</a:t>
                      </a: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900" kern="1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GDM</a:t>
                      </a:r>
                      <a:endParaRPr lang="zh-CN" sz="900" kern="10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altLang="en-US" sz="900" kern="100" dirty="0" smtClean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将通用的数据需求进行沉淀，主要是将重要的京东业务链组合起来的累积数据明细模型</a:t>
                      </a:r>
                      <a:endParaRPr lang="zh-CN" sz="900" kern="100" dirty="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51434" marR="51434" marT="0" marB="0" anchor="ctr"/>
                </a:tc>
              </a:tr>
              <a:tr h="50133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800" kern="0">
                          <a:effectLst/>
                        </a:rPr>
                        <a:t>4</a:t>
                      </a:r>
                      <a:endParaRPr lang="zh-CN" sz="9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900" kern="1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聚合数据层</a:t>
                      </a: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900" kern="1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ADM</a:t>
                      </a:r>
                      <a:endParaRPr lang="zh-CN" sz="900" kern="10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altLang="en-US" sz="900" kern="100" dirty="0" smtClean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将通用的指标需求沉淀，以重要维度为粒度，按照日、周、月、年进行进行汇总的模型</a:t>
                      </a:r>
                      <a:endParaRPr lang="zh-CN" sz="900" kern="100" dirty="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51434" marR="51434" marT="0" marB="0" anchor="ctr"/>
                </a:tc>
              </a:tr>
              <a:tr h="75199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800" kern="0">
                          <a:effectLst/>
                        </a:rPr>
                        <a:t>5</a:t>
                      </a:r>
                      <a:endParaRPr lang="zh-CN" sz="9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900" kern="1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维度层</a:t>
                      </a: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900" kern="1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DIM</a:t>
                      </a:r>
                      <a:endParaRPr lang="zh-CN" sz="900" kern="10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900" kern="1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维度是对具体分析对象的分析角度，维度要具备丰富的属性，历史信息的可追溯性，对通用的维表要保持一致性。</a:t>
                      </a:r>
                    </a:p>
                  </a:txBody>
                  <a:tcPr marL="51434" marR="51434" marT="0" marB="0" anchor="ctr"/>
                </a:tc>
              </a:tr>
              <a:tr h="26857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800" kern="0">
                          <a:effectLst/>
                        </a:rPr>
                        <a:t>6</a:t>
                      </a:r>
                      <a:endParaRPr lang="zh-CN" sz="9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900" kern="1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临时层</a:t>
                      </a: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900" kern="1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TMP</a:t>
                      </a:r>
                      <a:endParaRPr lang="zh-CN" sz="900" kern="10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900" kern="1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用来降低加工过程计算难度，提高运行效率的临时表层。</a:t>
                      </a:r>
                    </a:p>
                  </a:txBody>
                  <a:tcPr marL="51434" marR="51434" marT="0" marB="0" anchor="ctr"/>
                </a:tc>
              </a:tr>
            </a:tbl>
          </a:graphicData>
        </a:graphic>
      </p:graphicFrame>
      <p:sp>
        <p:nvSpPr>
          <p:cNvPr id="8" name="文本框 11"/>
          <p:cNvSpPr txBox="1">
            <a:spLocks noChangeArrowheads="1"/>
          </p:cNvSpPr>
          <p:nvPr/>
        </p:nvSpPr>
        <p:spPr bwMode="auto">
          <a:xfrm>
            <a:off x="30704" y="3915054"/>
            <a:ext cx="110799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业务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京</a:t>
            </a:r>
            <a:r>
              <a:rPr lang="zh-CN" altLang="en-US" dirty="0"/>
              <a:t>东数据仓库架构</a:t>
            </a:r>
          </a:p>
        </p:txBody>
      </p:sp>
      <p:sp>
        <p:nvSpPr>
          <p:cNvPr id="10" name="矩形 9"/>
          <p:cNvSpPr/>
          <p:nvPr/>
        </p:nvSpPr>
        <p:spPr>
          <a:xfrm>
            <a:off x="584702" y="1238431"/>
            <a:ext cx="17940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charset="2"/>
              <a:buChar char="Ø"/>
            </a:pP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层含义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00473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1397403" y="2015505"/>
            <a:ext cx="4111229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3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FDM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层表命名规范：</a:t>
            </a:r>
          </a:p>
        </p:txBody>
      </p:sp>
      <p:sp>
        <p:nvSpPr>
          <p:cNvPr id="9" name="矩形 2"/>
          <p:cNvSpPr>
            <a:spLocks noChangeArrowheads="1"/>
          </p:cNvSpPr>
          <p:nvPr/>
        </p:nvSpPr>
        <p:spPr bwMode="auto">
          <a:xfrm>
            <a:off x="1817694" y="2348880"/>
            <a:ext cx="5347097" cy="715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表名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= FDM + 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源库名称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+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源表名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 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加载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加载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策略：拉链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表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chain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增量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表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后缀</a:t>
            </a: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0"/>
              </a:spcBef>
              <a:buFontTx/>
              <a:buNone/>
            </a:pPr>
            <a:endParaRPr lang="zh-CN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1601670" y="3041377"/>
            <a:ext cx="4111228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　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DM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层表使用方法：</a:t>
            </a:r>
          </a:p>
        </p:txBody>
      </p:sp>
      <p:sp>
        <p:nvSpPr>
          <p:cNvPr id="11" name="矩形 4"/>
          <p:cNvSpPr>
            <a:spLocks noChangeArrowheads="1"/>
          </p:cNvSpPr>
          <p:nvPr/>
        </p:nvSpPr>
        <p:spPr bwMode="auto">
          <a:xfrm>
            <a:off x="2045103" y="3391867"/>
            <a:ext cx="471770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拉链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表：分区：</a:t>
            </a:r>
            <a:r>
              <a:rPr lang="en-US" altLang="zh-CN" sz="135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p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35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t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35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end_date</a:t>
            </a: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135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tart_date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35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end_date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行日期范围控制</a:t>
            </a: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en-US" altLang="zh-CN" sz="135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tart_date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=#date# and </a:t>
            </a:r>
            <a:r>
              <a:rPr lang="en-US" altLang="zh-CN" sz="135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end_date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gt;#date#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以取某日全量数据的快照</a:t>
            </a:r>
          </a:p>
        </p:txBody>
      </p:sp>
      <p:sp>
        <p:nvSpPr>
          <p:cNvPr id="12" name="矩形 13"/>
          <p:cNvSpPr>
            <a:spLocks noChangeArrowheads="1"/>
          </p:cNvSpPr>
          <p:nvPr/>
        </p:nvSpPr>
        <p:spPr bwMode="auto">
          <a:xfrm>
            <a:off x="2045103" y="4415371"/>
            <a:ext cx="5091458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增量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表：分区：</a:t>
            </a:r>
            <a:r>
              <a:rPr lang="en-US" altLang="zh-CN" sz="135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t</a:t>
            </a:r>
            <a:endParaRPr lang="en-US" altLang="zh-CN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135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t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行日期范围控制，可以查询某日的增量数据</a:t>
            </a:r>
          </a:p>
        </p:txBody>
      </p:sp>
      <p:sp>
        <p:nvSpPr>
          <p:cNvPr id="13" name="文本框 11"/>
          <p:cNvSpPr txBox="1">
            <a:spLocks noChangeArrowheads="1"/>
          </p:cNvSpPr>
          <p:nvPr/>
        </p:nvSpPr>
        <p:spPr bwMode="auto">
          <a:xfrm>
            <a:off x="30704" y="3915054"/>
            <a:ext cx="110799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业务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京</a:t>
            </a:r>
            <a:r>
              <a:rPr lang="zh-CN" altLang="en-US" dirty="0"/>
              <a:t>东</a:t>
            </a:r>
            <a:r>
              <a:rPr lang="zh-CN" altLang="en-US" dirty="0" smtClean="0"/>
              <a:t>数据仓库规范</a:t>
            </a:r>
            <a:endParaRPr lang="zh-CN" altLang="en-US" dirty="0"/>
          </a:p>
        </p:txBody>
      </p:sp>
      <p:sp>
        <p:nvSpPr>
          <p:cNvPr id="15" name="矩形 14"/>
          <p:cNvSpPr/>
          <p:nvPr/>
        </p:nvSpPr>
        <p:spPr>
          <a:xfrm>
            <a:off x="584702" y="1238431"/>
            <a:ext cx="13548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charset="2"/>
              <a:buChar char="Ø"/>
            </a:pP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FDM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范</a:t>
            </a:r>
          </a:p>
        </p:txBody>
      </p:sp>
    </p:spTree>
    <p:extLst>
      <p:ext uri="{BB962C8B-B14F-4D97-AF65-F5344CB8AC3E}">
        <p14:creationId xmlns:p14="http://schemas.microsoft.com/office/powerpoint/2010/main" val="454422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5"/>
          <p:cNvSpPr txBox="1">
            <a:spLocks noChangeArrowheads="1"/>
          </p:cNvSpPr>
          <p:nvPr/>
        </p:nvSpPr>
        <p:spPr bwMode="auto">
          <a:xfrm>
            <a:off x="1485416" y="1960962"/>
            <a:ext cx="4111229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350" dirty="0" smtClean="0"/>
              <a:t>GDM</a:t>
            </a:r>
            <a:r>
              <a:rPr lang="zh-CN" altLang="zh-CN" sz="1350" dirty="0"/>
              <a:t>数据层</a:t>
            </a:r>
            <a:r>
              <a:rPr lang="zh-CN" altLang="en-US" sz="1350" dirty="0"/>
              <a:t>命名</a:t>
            </a:r>
            <a:r>
              <a:rPr lang="zh-CN" altLang="zh-CN" sz="1350" dirty="0"/>
              <a:t>规则：</a:t>
            </a:r>
            <a:endParaRPr lang="zh-CN" altLang="en-US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2"/>
          <p:cNvSpPr>
            <a:spLocks noChangeArrowheads="1"/>
          </p:cNvSpPr>
          <p:nvPr/>
        </p:nvSpPr>
        <p:spPr bwMode="auto">
          <a:xfrm>
            <a:off x="1905707" y="2294337"/>
            <a:ext cx="5347097" cy="715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350"/>
              <a:t>增量</a:t>
            </a:r>
            <a:r>
              <a:rPr lang="zh-CN" altLang="zh-CN" sz="1350"/>
              <a:t>表名</a:t>
            </a:r>
            <a:r>
              <a:rPr lang="en-US" altLang="zh-CN" sz="1350"/>
              <a:t>=GDM_</a:t>
            </a:r>
            <a:r>
              <a:rPr lang="zh-CN" altLang="zh-CN" sz="1350"/>
              <a:t>主题前缀</a:t>
            </a:r>
            <a:r>
              <a:rPr lang="en-US" altLang="zh-CN" sz="1350"/>
              <a:t>_</a:t>
            </a:r>
            <a:r>
              <a:rPr lang="zh-CN" altLang="zh-CN" sz="1350"/>
              <a:t>主体</a:t>
            </a:r>
            <a:endParaRPr lang="en-US" altLang="zh-CN" sz="135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350"/>
              <a:t>全量表名</a:t>
            </a:r>
            <a:r>
              <a:rPr lang="en-US" altLang="zh-CN" sz="1350"/>
              <a:t>=GDM_</a:t>
            </a:r>
            <a:r>
              <a:rPr lang="zh-CN" altLang="zh-CN" sz="1350"/>
              <a:t>主题前缀</a:t>
            </a:r>
            <a:r>
              <a:rPr lang="en-US" altLang="zh-CN" sz="1350"/>
              <a:t>_</a:t>
            </a:r>
            <a:r>
              <a:rPr lang="zh-CN" altLang="zh-CN" sz="1350"/>
              <a:t>主体</a:t>
            </a:r>
            <a:r>
              <a:rPr lang="en-US" altLang="zh-CN" sz="1350"/>
              <a:t>_DA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3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5" name="表格 14"/>
          <p:cNvGraphicFramePr>
            <a:graphicFrameLocks noGrp="1"/>
          </p:cNvGraphicFramePr>
          <p:nvPr>
            <p:extLst/>
          </p:nvPr>
        </p:nvGraphicFramePr>
        <p:xfrm>
          <a:off x="1655676" y="2961087"/>
          <a:ext cx="5597128" cy="2682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66813"/>
                <a:gridCol w="765687"/>
                <a:gridCol w="558380"/>
                <a:gridCol w="3206248"/>
              </a:tblGrid>
              <a:tr h="1620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主题前缀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主题名称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简称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业务覆盖范围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01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客户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US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供应商、</a:t>
                      </a: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POP</a:t>
                      </a: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商家、团购商家、合作伙伴、用户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02 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组织机构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ORG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员工、部门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03 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商品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TM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endParaRPr lang="zh-CN" sz="1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04 </a:t>
                      </a:r>
                      <a:endParaRPr lang="zh-CN" sz="1100" kern="10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销售订单</a:t>
                      </a:r>
                      <a:endParaRPr lang="zh-CN" sz="11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ORD</a:t>
                      </a:r>
                      <a:endParaRPr lang="zh-CN" sz="11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订单相关</a:t>
                      </a:r>
                      <a:endParaRPr lang="zh-CN" sz="11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05 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账户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ACT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与账户关联的礼品卡、余额、积分、优惠券等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06 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客户端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LI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移动客户端、</a:t>
                      </a: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PC</a:t>
                      </a: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客户端、移动设备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07 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营销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AM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促销、活动、优惠券、礼品卡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ker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M08 </a:t>
                      </a:r>
                      <a:endParaRPr lang="zh-CN" sz="1100" kern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仓储</a:t>
                      </a: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INV</a:t>
                      </a:r>
                      <a:endParaRPr lang="zh-CN" sz="1100" kern="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zh-CN" sz="1100" kern="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09 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配送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DIS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endParaRPr lang="zh-CN" sz="1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10 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客服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SC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售后、备件库、呼叫中心、工单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11 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地理区域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LOC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endParaRPr lang="zh-CN" sz="1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12 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财务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FIN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endParaRPr lang="zh-CN" sz="1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13 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社区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OM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用户的关注、订阅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ker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M14 </a:t>
                      </a:r>
                      <a:endParaRPr lang="zh-CN" sz="1100" kern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sz="1100" ker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流量</a:t>
                      </a: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TRA</a:t>
                      </a:r>
                      <a:endParaRPr lang="zh-CN" sz="1100" kern="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kern="0" dirty="0" err="1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Traffice</a:t>
                      </a:r>
                      <a:endParaRPr lang="zh-CN" sz="1100" kern="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15 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供应链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CM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采购、采购退货</a:t>
                      </a: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(</a:t>
                      </a: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退供应商</a:t>
                      </a: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)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</a:tbl>
          </a:graphicData>
        </a:graphic>
      </p:graphicFrame>
      <p:sp>
        <p:nvSpPr>
          <p:cNvPr id="7" name="文本框 11"/>
          <p:cNvSpPr txBox="1">
            <a:spLocks noChangeArrowheads="1"/>
          </p:cNvSpPr>
          <p:nvPr/>
        </p:nvSpPr>
        <p:spPr bwMode="auto">
          <a:xfrm>
            <a:off x="30704" y="3915054"/>
            <a:ext cx="110799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业务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京</a:t>
            </a:r>
            <a:r>
              <a:rPr lang="zh-CN" altLang="en-US" dirty="0"/>
              <a:t>东</a:t>
            </a:r>
            <a:r>
              <a:rPr lang="zh-CN" altLang="en-US" dirty="0" smtClean="0"/>
              <a:t>数据仓库规范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584702" y="1238431"/>
            <a:ext cx="14029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G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M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范</a:t>
            </a:r>
          </a:p>
        </p:txBody>
      </p:sp>
    </p:spTree>
    <p:extLst>
      <p:ext uri="{BB962C8B-B14F-4D97-AF65-F5344CB8AC3E}">
        <p14:creationId xmlns:p14="http://schemas.microsoft.com/office/powerpoint/2010/main" val="1520511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1277634" y="1970838"/>
            <a:ext cx="4111229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3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DM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层</a:t>
            </a:r>
            <a:r>
              <a:rPr lang="zh-CN" altLang="en-US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命名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则：</a:t>
            </a:r>
            <a:endParaRPr lang="zh-CN" altLang="en-US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2"/>
          <p:cNvSpPr>
            <a:spLocks noChangeArrowheads="1"/>
          </p:cNvSpPr>
          <p:nvPr/>
        </p:nvSpPr>
        <p:spPr bwMode="auto">
          <a:xfrm>
            <a:off x="1697925" y="2304213"/>
            <a:ext cx="5843588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表名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= ADM+ 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题英文简称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+ 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体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后缀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季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3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)</a:t>
            </a:r>
            <a:endParaRPr lang="zh-CN" altLang="en-US" sz="13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11"/>
          <p:cNvSpPr txBox="1">
            <a:spLocks noChangeArrowheads="1"/>
          </p:cNvSpPr>
          <p:nvPr/>
        </p:nvSpPr>
        <p:spPr bwMode="auto">
          <a:xfrm>
            <a:off x="30704" y="3915054"/>
            <a:ext cx="110799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DW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数据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业务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1" name="表格 10"/>
          <p:cNvGraphicFramePr>
            <a:graphicFrameLocks noGrp="1"/>
          </p:cNvGraphicFramePr>
          <p:nvPr>
            <p:extLst/>
          </p:nvPr>
        </p:nvGraphicFramePr>
        <p:xfrm>
          <a:off x="1655676" y="2961087"/>
          <a:ext cx="5597128" cy="2682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66813"/>
                <a:gridCol w="765687"/>
                <a:gridCol w="558380"/>
                <a:gridCol w="3206248"/>
              </a:tblGrid>
              <a:tr h="1620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主题前缀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主题名称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简称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业务覆盖范围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1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客户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US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供应商、</a:t>
                      </a: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POP</a:t>
                      </a: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商家、团购商家、合作伙伴、用户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2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组织机构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ORG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员工、部门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3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商品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TM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endParaRPr lang="zh-CN" sz="1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4 </a:t>
                      </a:r>
                      <a:endParaRPr lang="zh-CN" sz="11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销售订单</a:t>
                      </a:r>
                      <a:endParaRPr lang="zh-CN" sz="11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ORD</a:t>
                      </a:r>
                      <a:endParaRPr lang="zh-CN" sz="11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订单相关</a:t>
                      </a:r>
                      <a:endParaRPr lang="zh-CN" sz="11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5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账户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ACT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与账户关联的礼品卡、余额、积分、优惠券等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6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客户端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LI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移动客户端、</a:t>
                      </a: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PC</a:t>
                      </a: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客户端、移动设备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7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营销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AM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促销、活动、优惠券、礼品卡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S</a:t>
                      </a:r>
                      <a:r>
                        <a:rPr lang="en-US" sz="1100" kern="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08 </a:t>
                      </a:r>
                      <a:endParaRPr lang="zh-CN" sz="1100" kern="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仓储</a:t>
                      </a: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INV</a:t>
                      </a:r>
                      <a:endParaRPr lang="zh-CN" sz="1100" kern="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zh-CN" sz="1100" kern="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9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配送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DIS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endParaRPr lang="zh-CN" sz="1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客服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SC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售后、备件库、呼叫中心、工单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地理区域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LOC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endParaRPr lang="zh-CN" sz="1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2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财务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FIN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endParaRPr lang="zh-CN" sz="1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3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社区</a:t>
                      </a:r>
                      <a:endParaRPr lang="zh-CN" sz="1100" kern="10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OM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用户的关注、订阅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S</a:t>
                      </a:r>
                      <a:r>
                        <a:rPr lang="en-US" sz="1100" kern="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4 </a:t>
                      </a:r>
                      <a:endParaRPr lang="zh-CN" sz="1100" kern="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sz="1100" ker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流量</a:t>
                      </a: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TRA</a:t>
                      </a:r>
                      <a:endParaRPr lang="zh-CN" sz="1100" kern="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kern="0" dirty="0" err="1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Traffice</a:t>
                      </a:r>
                      <a:endParaRPr lang="zh-CN" sz="1100" kern="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51434" marR="51434" marT="0" marB="0" anchor="ctr"/>
                </a:tc>
              </a:tr>
              <a:tr h="1620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</a:t>
                      </a:r>
                      <a:r>
                        <a:rPr lang="en-US" sz="1100" kern="0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5 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供应链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CM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采购、采购退货</a:t>
                      </a: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(</a:t>
                      </a:r>
                      <a:r>
                        <a:rPr lang="zh-CN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退供应商</a:t>
                      </a:r>
                      <a:r>
                        <a:rPr lang="en-US" sz="1100" kern="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)</a:t>
                      </a:r>
                      <a:endParaRPr lang="zh-CN" sz="1100" kern="100" dirty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51434" marR="51434" marT="0" marB="0" anchor="ctr"/>
                </a:tc>
              </a:tr>
            </a:tbl>
          </a:graphicData>
        </a:graphic>
      </p:graphicFrame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京</a:t>
            </a:r>
            <a:r>
              <a:rPr lang="zh-CN" altLang="en-US" dirty="0"/>
              <a:t>东</a:t>
            </a:r>
            <a:r>
              <a:rPr lang="zh-CN" altLang="en-US" dirty="0" smtClean="0"/>
              <a:t>数据仓库规范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584702" y="1238431"/>
            <a:ext cx="13933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charset="2"/>
              <a:buChar char="Ø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M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范</a:t>
            </a:r>
          </a:p>
        </p:txBody>
      </p:sp>
    </p:spTree>
    <p:extLst>
      <p:ext uri="{BB962C8B-B14F-4D97-AF65-F5344CB8AC3E}">
        <p14:creationId xmlns:p14="http://schemas.microsoft.com/office/powerpoint/2010/main" val="1490934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/>
      <a:bodyPr wrap="square" rtlCol="0" anchor="ctr">
        <a:noAutofit/>
      </a:bodyPr>
      <a:lstStyle>
        <a:defPPr algn="ctr">
          <a:defRPr dirty="0" err="1" smtClean="0">
            <a:latin typeface="+mj-ea"/>
            <a:ea typeface="+mj-ea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6655</TotalTime>
  <Words>1213</Words>
  <Application>Microsoft Office PowerPoint</Application>
  <PresentationFormat>全屏显示(4:3)</PresentationFormat>
  <Paragraphs>390</Paragraphs>
  <Slides>14</Slides>
  <Notes>14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6" baseType="lpstr">
      <vt:lpstr>Gulim</vt:lpstr>
      <vt:lpstr>黑体</vt:lpstr>
      <vt:lpstr>宋体</vt:lpstr>
      <vt:lpstr>微软雅黑</vt:lpstr>
      <vt:lpstr>Arial</vt:lpstr>
      <vt:lpstr>Calibri</vt:lpstr>
      <vt:lpstr>Franklin Gothic Book</vt:lpstr>
      <vt:lpstr>Franklin Gothic Medium</vt:lpstr>
      <vt:lpstr>Times New Roman</vt:lpstr>
      <vt:lpstr>Wingdings</vt:lpstr>
      <vt:lpstr>JD Template V2.0</vt:lpstr>
      <vt:lpstr>think-cell Slide</vt:lpstr>
      <vt:lpstr>京东大数据平台数据仓库JDW</vt:lpstr>
      <vt:lpstr>目录</vt:lpstr>
      <vt:lpstr>京东数据仓库架构</vt:lpstr>
      <vt:lpstr>京东数据仓库架构</vt:lpstr>
      <vt:lpstr>京东数据仓库架构</vt:lpstr>
      <vt:lpstr>京东数据仓库架构</vt:lpstr>
      <vt:lpstr>京东数据仓库规范</vt:lpstr>
      <vt:lpstr>京东数据仓库规范</vt:lpstr>
      <vt:lpstr>京东数据仓库规范</vt:lpstr>
      <vt:lpstr>京东数据仓库规范</vt:lpstr>
      <vt:lpstr>京东数据仓库服务体系</vt:lpstr>
      <vt:lpstr>京东数据仓库服务体系</vt:lpstr>
      <vt:lpstr>京东数据仓库服务体系</vt:lpstr>
      <vt:lpstr>PowerPoint 演示文稿</vt:lpstr>
    </vt:vector>
  </TitlesOfParts>
  <Company>J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京东大数据实时解决方案</dc:title>
  <dc:creator>phoenix</dc:creator>
  <cp:lastModifiedBy>王建辉</cp:lastModifiedBy>
  <cp:revision>469</cp:revision>
  <dcterms:created xsi:type="dcterms:W3CDTF">2014-02-13T01:22:38Z</dcterms:created>
  <dcterms:modified xsi:type="dcterms:W3CDTF">2014-09-19T07:36:34Z</dcterms:modified>
</cp:coreProperties>
</file>